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9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30" r:id="rId1"/>
  </p:sldMasterIdLst>
  <p:notesMasterIdLst>
    <p:notesMasterId r:id="rId33"/>
  </p:notesMasterIdLst>
  <p:handoutMasterIdLst>
    <p:handoutMasterId r:id="rId34"/>
  </p:handoutMasterIdLst>
  <p:sldIdLst>
    <p:sldId id="363" r:id="rId2"/>
    <p:sldId id="370" r:id="rId3"/>
    <p:sldId id="372" r:id="rId4"/>
    <p:sldId id="373" r:id="rId5"/>
    <p:sldId id="387" r:id="rId6"/>
    <p:sldId id="374" r:id="rId7"/>
    <p:sldId id="386" r:id="rId8"/>
    <p:sldId id="375" r:id="rId9"/>
    <p:sldId id="377" r:id="rId10"/>
    <p:sldId id="378" r:id="rId11"/>
    <p:sldId id="299" r:id="rId12"/>
    <p:sldId id="307" r:id="rId13"/>
    <p:sldId id="359" r:id="rId14"/>
    <p:sldId id="310" r:id="rId15"/>
    <p:sldId id="304" r:id="rId16"/>
    <p:sldId id="356" r:id="rId17"/>
    <p:sldId id="276" r:id="rId18"/>
    <p:sldId id="298" r:id="rId19"/>
    <p:sldId id="338" r:id="rId20"/>
    <p:sldId id="369" r:id="rId21"/>
    <p:sldId id="339" r:id="rId22"/>
    <p:sldId id="354" r:id="rId23"/>
    <p:sldId id="355" r:id="rId24"/>
    <p:sldId id="272" r:id="rId25"/>
    <p:sldId id="303" r:id="rId26"/>
    <p:sldId id="278" r:id="rId27"/>
    <p:sldId id="297" r:id="rId28"/>
    <p:sldId id="295" r:id="rId29"/>
    <p:sldId id="296" r:id="rId30"/>
    <p:sldId id="358" r:id="rId31"/>
    <p:sldId id="346" r:id="rId32"/>
  </p:sldIdLst>
  <p:sldSz cx="9144000" cy="5143500" type="screen16x9"/>
  <p:notesSz cx="6858000" cy="9144000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40" userDrawn="1">
          <p15:clr>
            <a:srgbClr val="A4A3A4"/>
          </p15:clr>
        </p15:guide>
        <p15:guide id="2">
          <p15:clr>
            <a:srgbClr val="A4A3A4"/>
          </p15:clr>
        </p15:guide>
        <p15:guide id="3" pos="5760" userDrawn="1">
          <p15:clr>
            <a:srgbClr val="A4A3A4"/>
          </p15:clr>
        </p15:guide>
        <p15:guide id="4" orient="horz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173">
          <p15:clr>
            <a:srgbClr val="A4A3A4"/>
          </p15:clr>
        </p15:guide>
        <p15:guide id="4" pos="414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hleen Watson" initials="KW" lastIdx="1" clrIdx="0"/>
  <p:cmAuthor id="2" name="Kathleen Watson" initials="KW [2]" lastIdx="1" clrIdx="1"/>
  <p:cmAuthor id="3" name="Kathleen Watson" initials="KW [3]" lastIdx="1" clrIdx="2"/>
  <p:cmAuthor id="4" name="Kathleen Watson" initials="KW [4]" lastIdx="1" clrIdx="3"/>
  <p:cmAuthor id="5" name="Kathleen Watson" initials="KW [5]" lastIdx="1" clrIdx="4"/>
  <p:cmAuthor id="6" name="Kathleen Watson" initials="KW [6]" lastIdx="1" clrIdx="5"/>
  <p:cmAuthor id="7" name="Kathleen Watson" initials="KW [7]" lastIdx="1" clrIdx="6"/>
  <p:cmAuthor id="8" name="Kathleen Watson" initials="KW [8]" lastIdx="1" clrIdx="7"/>
  <p:cmAuthor id="9" name="Kathleen Watson" initials="KW [9]" lastIdx="1" clrIdx="8"/>
  <p:cmAuthor id="10" name="Kathleen Watson" initials="KW [10]" lastIdx="1" clrIdx="9"/>
  <p:cmAuthor id="11" name="Kathleen Watson" initials="KW [11]" lastIdx="1" clrIdx="10"/>
  <p:cmAuthor id="12" name="Kathleen Watson" initials="KW [12]" lastIdx="1" clrIdx="11"/>
  <p:cmAuthor id="13" name="Jeff San Miguel" initials="JSM" lastIdx="1" clrIdx="12"/>
  <p:cmAuthor id="14" name="Jeff San Miguel" initials="JSM [2]" lastIdx="1" clrIdx="13"/>
  <p:cmAuthor id="15" name="Jeff San Miguel" initials="JSM [3]" lastIdx="1" clrIdx="14"/>
  <p:cmAuthor id="16" name="Jeff San Miguel" initials="JSM [4]" lastIdx="1" clrIdx="15"/>
  <p:cmAuthor id="17" name="Jeff San Miguel" initials="JSM [5]" lastIdx="1" clrIdx="16"/>
  <p:cmAuthor id="18" name="Jeff San Miguel" initials="JSM [6]" lastIdx="1" clrIdx="17"/>
  <p:cmAuthor id="19" name="Jeff San Miguel" initials="JSM [7]" lastIdx="1" clrIdx="18"/>
  <p:cmAuthor id="20" name="Jeff San Miguel" initials="JSM [8]" lastIdx="1" clrIdx="19"/>
  <p:cmAuthor id="21" name="Jeff San Miguel" initials="JSM [9]" lastIdx="1" clrIdx="2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1C2C"/>
    <a:srgbClr val="072941"/>
    <a:srgbClr val="53E2DD"/>
    <a:srgbClr val="F2F1F1"/>
    <a:srgbClr val="E8E8E7"/>
    <a:srgbClr val="271E1C"/>
    <a:srgbClr val="0E1628"/>
    <a:srgbClr val="000000"/>
    <a:srgbClr val="135295"/>
    <a:srgbClr val="032F4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572" autoAdjust="0"/>
    <p:restoredTop sz="86395" autoAdjust="0"/>
  </p:normalViewPr>
  <p:slideViewPr>
    <p:cSldViewPr snapToGrid="0" snapToObjects="1" showGuides="1">
      <p:cViewPr varScale="1">
        <p:scale>
          <a:sx n="214" d="100"/>
          <a:sy n="214" d="100"/>
        </p:scale>
        <p:origin x="920" y="168"/>
      </p:cViewPr>
      <p:guideLst>
        <p:guide orient="horz" pos="3240"/>
        <p:guide/>
        <p:guide pos="5760"/>
        <p:guide orient="horz"/>
      </p:guideLst>
    </p:cSldViewPr>
  </p:slideViewPr>
  <p:outlineViewPr>
    <p:cViewPr>
      <p:scale>
        <a:sx n="33" d="100"/>
        <a:sy n="33" d="100"/>
      </p:scale>
      <p:origin x="0" y="-260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napToObjects="1">
      <p:cViewPr varScale="1">
        <p:scale>
          <a:sx n="153" d="100"/>
          <a:sy n="153" d="100"/>
        </p:scale>
        <p:origin x="5880" y="176"/>
      </p:cViewPr>
      <p:guideLst>
        <p:guide orient="horz" pos="2880"/>
        <p:guide pos="2160"/>
        <p:guide pos="173"/>
        <p:guide pos="414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840211384508004E-2"/>
          <c:y val="8.9210838868605105E-2"/>
          <c:w val="0.74787658299983795"/>
          <c:h val="0.815728456428980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886-4949-9B15-BEF739ABDA1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rgbClr val="414141"/>
                    </a:solidFill>
                    <a:latin typeface="+mn-lt"/>
                    <a:ea typeface="+mn-ea"/>
                    <a:cs typeface="+mn-cs"/>
                  </a:defRPr>
                </a:pPr>
                <a:endParaRPr lang="en-V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886-4949-9B15-BEF739ABDA1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rgbClr val="414141"/>
                    </a:solidFill>
                    <a:latin typeface="+mn-lt"/>
                    <a:ea typeface="+mn-ea"/>
                    <a:cs typeface="+mn-cs"/>
                  </a:defRPr>
                </a:pPr>
                <a:endParaRPr lang="en-V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886-4949-9B15-BEF739ABDA1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9886-4949-9B15-BEF739ABDA1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rgbClr val="414141"/>
                    </a:solidFill>
                    <a:latin typeface="+mn-lt"/>
                    <a:ea typeface="+mn-ea"/>
                    <a:cs typeface="+mn-cs"/>
                  </a:defRPr>
                </a:pPr>
                <a:endParaRPr lang="en-V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2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886-4949-9B15-BEF739ABDA1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886-4949-9B15-BEF739ABDA1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rgbClr val="414141"/>
                    </a:solidFill>
                    <a:latin typeface="+mn-lt"/>
                    <a:ea typeface="+mn-ea"/>
                    <a:cs typeface="+mn-cs"/>
                  </a:defRPr>
                </a:pPr>
                <a:endParaRPr lang="en-V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886-4949-9B15-BEF739ABDA1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rgbClr val="414141"/>
                    </a:solidFill>
                    <a:latin typeface="+mn-lt"/>
                    <a:ea typeface="+mn-ea"/>
                    <a:cs typeface="+mn-cs"/>
                  </a:defRPr>
                </a:pPr>
                <a:endParaRPr lang="en-V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F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886-4949-9B15-BEF739ABDA1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rgbClr val="414141"/>
                    </a:solidFill>
                    <a:latin typeface="+mn-lt"/>
                    <a:ea typeface="+mn-ea"/>
                    <a:cs typeface="+mn-cs"/>
                  </a:defRPr>
                </a:pPr>
                <a:endParaRPr lang="en-V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G$2</c:f>
              <c:numCache>
                <c:formatCode>General</c:formatCode>
                <c:ptCount val="1"/>
                <c:pt idx="0">
                  <c:v>2.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886-4949-9B15-BEF739ABDA1B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Series 7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9886-4949-9B15-BEF739ABDA1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rgbClr val="414141"/>
                    </a:solidFill>
                    <a:latin typeface="+mn-lt"/>
                    <a:ea typeface="+mn-ea"/>
                    <a:cs typeface="+mn-cs"/>
                  </a:defRPr>
                </a:pPr>
                <a:endParaRPr lang="en-V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H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886-4949-9B15-BEF739ABDA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10"/>
        <c:axId val="-2105066800"/>
        <c:axId val="-2105064752"/>
      </c:barChart>
      <c:catAx>
        <c:axId val="-210506680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VN"/>
          </a:p>
        </c:txPr>
        <c:crossAx val="-2105064752"/>
        <c:crosses val="autoZero"/>
        <c:auto val="1"/>
        <c:lblAlgn val="ctr"/>
        <c:lblOffset val="100"/>
        <c:noMultiLvlLbl val="0"/>
      </c:catAx>
      <c:valAx>
        <c:axId val="-21050647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VN"/>
          </a:p>
        </c:txPr>
        <c:crossAx val="-21050668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8189715698357496"/>
          <c:y val="0.27113271455593202"/>
          <c:w val="0.108951270639378"/>
          <c:h val="0.533153565301544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rgbClr val="414141"/>
              </a:solidFill>
              <a:latin typeface="+mn-lt"/>
              <a:ea typeface="+mn-ea"/>
              <a:cs typeface="+mn-cs"/>
            </a:defRPr>
          </a:pPr>
          <a:endParaRPr lang="en-VN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600"/>
      </a:pPr>
      <a:endParaRPr lang="en-V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840211384508004E-2"/>
          <c:y val="8.9210838868605105E-2"/>
          <c:w val="0.74787658299983795"/>
          <c:h val="0.8157284564289809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>
              <a:solidFill>
                <a:srgbClr val="C2C2C2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115-4C7E-8326-D873C883BCF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>
              <a:solidFill>
                <a:srgbClr val="C2C2C2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Sheet1!$C$2:$C$8</c:f>
              <c:numCache>
                <c:formatCode>General</c:formatCode>
                <c:ptCount val="7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15-4C7E-8326-D873C883BCF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>
              <a:solidFill>
                <a:srgbClr val="C2C2C2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Sheet1!$D$2:$D$8</c:f>
              <c:numCache>
                <c:formatCode>General</c:formatCode>
                <c:ptCount val="7"/>
                <c:pt idx="0">
                  <c:v>3</c:v>
                </c:pt>
                <c:pt idx="1">
                  <c:v>4</c:v>
                </c:pt>
                <c:pt idx="2">
                  <c:v>5</c:v>
                </c:pt>
                <c:pt idx="3">
                  <c:v>6</c:v>
                </c:pt>
                <c:pt idx="4">
                  <c:v>7</c:v>
                </c:pt>
                <c:pt idx="5">
                  <c:v>8</c:v>
                </c:pt>
                <c:pt idx="6">
                  <c:v>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15-4C7E-8326-D873C883BCF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ln>
              <a:solidFill>
                <a:srgbClr val="C2C2C2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Sheet1!$E$2:$E$8</c:f>
              <c:numCache>
                <c:formatCode>General</c:formatCode>
                <c:ptCount val="7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15-4C7E-8326-D873C883BCF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ln>
              <a:solidFill>
                <a:srgbClr val="C2C2C2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Sheet1!$F$2:$F$8</c:f>
              <c:numCache>
                <c:formatCode>General</c:formatCode>
                <c:ptCount val="7"/>
                <c:pt idx="0">
                  <c:v>5</c:v>
                </c:pt>
                <c:pt idx="1">
                  <c:v>6</c:v>
                </c:pt>
                <c:pt idx="2">
                  <c:v>7</c:v>
                </c:pt>
                <c:pt idx="3">
                  <c:v>8</c:v>
                </c:pt>
                <c:pt idx="4">
                  <c:v>9</c:v>
                </c:pt>
                <c:pt idx="5">
                  <c:v>10</c:v>
                </c:pt>
                <c:pt idx="6">
                  <c:v>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115-4C7E-8326-D873C883BCF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ln>
              <a:solidFill>
                <a:srgbClr val="C2C2C2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Sheet1!$G$2:$G$8</c:f>
              <c:numCache>
                <c:formatCode>General</c:formatCode>
                <c:ptCount val="7"/>
                <c:pt idx="0">
                  <c:v>6</c:v>
                </c:pt>
                <c:pt idx="1">
                  <c:v>7</c:v>
                </c:pt>
                <c:pt idx="2">
                  <c:v>8</c:v>
                </c:pt>
                <c:pt idx="3">
                  <c:v>9</c:v>
                </c:pt>
                <c:pt idx="4">
                  <c:v>10</c:v>
                </c:pt>
                <c:pt idx="5">
                  <c:v>11</c:v>
                </c:pt>
                <c:pt idx="6">
                  <c:v>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115-4C7E-8326-D873C883BCFD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Series 7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none"/>
          </c:marker>
          <c:cat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Sheet1!$H$2:$H$8</c:f>
              <c:numCache>
                <c:formatCode>General</c:formatCode>
                <c:ptCount val="7"/>
                <c:pt idx="0">
                  <c:v>7</c:v>
                </c:pt>
                <c:pt idx="1">
                  <c:v>8</c:v>
                </c:pt>
                <c:pt idx="2">
                  <c:v>9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1115-4C7E-8326-D873C883BC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2101128480"/>
        <c:axId val="-2101126160"/>
      </c:lineChart>
      <c:catAx>
        <c:axId val="-21011284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chemeClr val="bg1">
                <a:lumMod val="50000"/>
              </a:schemeClr>
            </a:solidFill>
          </a:ln>
        </c:spPr>
        <c:crossAx val="-2101126160"/>
        <c:crosses val="autoZero"/>
        <c:auto val="1"/>
        <c:lblAlgn val="ctr"/>
        <c:lblOffset val="100"/>
        <c:noMultiLvlLbl val="0"/>
      </c:catAx>
      <c:valAx>
        <c:axId val="-210112616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solidFill>
              <a:schemeClr val="bg1">
                <a:lumMod val="50000"/>
              </a:schemeClr>
            </a:solidFill>
          </a:ln>
        </c:spPr>
        <c:crossAx val="-210112848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4998266966018399"/>
          <c:y val="0.27041151629789301"/>
          <c:w val="0.143921206162827"/>
          <c:h val="0.45907843223507699"/>
        </c:manualLayout>
      </c:layout>
      <c:overlay val="0"/>
      <c:txPr>
        <a:bodyPr/>
        <a:lstStyle/>
        <a:p>
          <a:pPr>
            <a:defRPr sz="1400"/>
          </a:pPr>
          <a:endParaRPr lang="en-VN"/>
        </a:p>
      </c:txPr>
    </c:legend>
    <c:plotVisOnly val="1"/>
    <c:dispBlanksAs val="gap"/>
    <c:showDLblsOverMax val="0"/>
  </c:chart>
  <c:txPr>
    <a:bodyPr/>
    <a:lstStyle/>
    <a:p>
      <a:pPr>
        <a:defRPr sz="1600"/>
      </a:pPr>
      <a:endParaRPr lang="en-VN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840211384508004E-2"/>
          <c:y val="8.9210838868605105E-2"/>
          <c:w val="0.74787658299983795"/>
          <c:h val="0.8157284564289809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47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2A2-4E9C-8320-D76103111199}"/>
              </c:ext>
            </c:extLst>
          </c:dPt>
          <c:dPt>
            <c:idx val="1"/>
            <c:bubble3D val="0"/>
            <c:spPr>
              <a:solidFill>
                <a:schemeClr val="accent2">
                  <a:shade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2A2-4E9C-8320-D76103111199}"/>
              </c:ext>
            </c:extLst>
          </c:dPt>
          <c:dPt>
            <c:idx val="2"/>
            <c:bubble3D val="0"/>
            <c:spPr>
              <a:solidFill>
                <a:schemeClr val="accent2">
                  <a:shade val="82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2A2-4E9C-8320-D76103111199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02A2-4E9C-8320-D76103111199}"/>
              </c:ext>
            </c:extLst>
          </c:dPt>
          <c:dPt>
            <c:idx val="4"/>
            <c:bubble3D val="0"/>
            <c:spPr>
              <a:solidFill>
                <a:schemeClr val="accent2">
                  <a:tint val="83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2A2-4E9C-8320-D76103111199}"/>
              </c:ext>
            </c:extLst>
          </c:dPt>
          <c:dPt>
            <c:idx val="5"/>
            <c:bubble3D val="0"/>
            <c:spPr>
              <a:solidFill>
                <a:schemeClr val="accent2">
                  <a:tint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02A2-4E9C-8320-D76103111199}"/>
              </c:ext>
            </c:extLst>
          </c:dPt>
          <c:dPt>
            <c:idx val="6"/>
            <c:bubble3D val="0"/>
            <c:spPr>
              <a:solidFill>
                <a:schemeClr val="accent2">
                  <a:tint val="48000"/>
                </a:scheme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D-02A2-4E9C-8320-D7610311119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VN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  <c:pt idx="6">
                  <c:v>Category 7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0.5</c:v>
                </c:pt>
                <c:pt idx="1">
                  <c:v>0.3</c:v>
                </c:pt>
                <c:pt idx="2">
                  <c:v>0.25</c:v>
                </c:pt>
                <c:pt idx="3">
                  <c:v>0.2</c:v>
                </c:pt>
                <c:pt idx="4">
                  <c:v>0.15</c:v>
                </c:pt>
                <c:pt idx="5">
                  <c:v>0.1</c:v>
                </c:pt>
                <c:pt idx="6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02A2-4E9C-8320-D761031111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3844551282051296"/>
          <c:y val="0.24247861413872701"/>
          <c:w val="0.13506387725459501"/>
          <c:h val="0.5345959618176210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VN"/>
        </a:p>
      </c:txPr>
    </c:legend>
    <c:plotVisOnly val="1"/>
    <c:dispBlanksAs val="zero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600"/>
      </a:pPr>
      <a:endParaRPr lang="en-V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B3F974-BB90-4059-9901-8147A3A63439}" type="datetimeFigureOut">
              <a:rPr lang="en-US" smtClean="0"/>
              <a:pPr/>
              <a:t>11/25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55FBB6-509D-433A-BC0A-FC2E7C728BA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338065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84200" y="849313"/>
            <a:ext cx="5689600" cy="3200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55010" y="4236396"/>
            <a:ext cx="6414557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9926254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1450" indent="-171450" algn="l" defTabSz="914400" rtl="0" eaLnBrk="1" latinLnBrk="0" hangingPunct="1">
      <a:lnSpc>
        <a:spcPct val="95000"/>
      </a:lnSpc>
      <a:spcBef>
        <a:spcPts val="800"/>
      </a:spcBef>
      <a:spcAft>
        <a:spcPts val="600"/>
      </a:spcAft>
      <a:buClr>
        <a:schemeClr val="accent2"/>
      </a:buClr>
      <a:buFont typeface="Wingdings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39725" indent="-165100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457200" indent="-117475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74675" indent="-117475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39775" indent="-165100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96744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96887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1216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3245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8502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5266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057778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5168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4200" y="849313"/>
            <a:ext cx="5689600" cy="3200400"/>
          </a:xfrm>
          <a:ln/>
        </p:spPr>
      </p:sp>
      <p:sp>
        <p:nvSpPr>
          <p:cNvPr id="13314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Calibri" charset="0"/>
            </a:endParaRPr>
          </a:p>
        </p:txBody>
      </p:sp>
      <p:sp>
        <p:nvSpPr>
          <p:cNvPr id="13315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84230" y="8684293"/>
            <a:ext cx="2972588" cy="45761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18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9318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9318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9318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9318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9318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9318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9318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9318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B2D971DE-4B93-1441-B43C-EA19108F981A}" type="slidenum">
              <a:rPr lang="en-US" sz="1200"/>
              <a:pPr eaLnBrk="1" hangingPunct="1"/>
              <a:t>25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60011510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403116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7948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29674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5667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2095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97747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5192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7855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04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0177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849313"/>
            <a:ext cx="5689600" cy="3200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75756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AAA4BB55-22A6-9C48-9B94-C2A7131C877F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C087B14-6753-6F4D-B0BE-B2E45CBD35B4}"/>
              </a:ext>
            </a:extLst>
          </p:cNvPr>
          <p:cNvSpPr/>
          <p:nvPr userDrawn="1"/>
        </p:nvSpPr>
        <p:spPr>
          <a:xfrm>
            <a:off x="-1" y="0"/>
            <a:ext cx="5942893" cy="5157216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66000">
                <a:srgbClr val="051C2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5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1348" y="2803117"/>
            <a:ext cx="4286425" cy="830997"/>
          </a:xfrm>
          <a:prstGeom prst="rect">
            <a:avLst/>
          </a:prstGeom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charset="2"/>
              <a:buNone/>
              <a:tabLst/>
              <a:defRPr sz="2400" cap="none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placeholder</a:t>
            </a:r>
          </a:p>
          <a:p>
            <a:r>
              <a:rPr lang="en-US" dirty="0"/>
              <a:t>Subtitle placeholder</a:t>
            </a:r>
          </a:p>
        </p:txBody>
      </p:sp>
      <p:sp>
        <p:nvSpPr>
          <p:cNvPr id="57" name="Title 1"/>
          <p:cNvSpPr>
            <a:spLocks noGrp="1"/>
          </p:cNvSpPr>
          <p:nvPr>
            <p:ph type="ctrTitle" hasCustomPrompt="1"/>
          </p:nvPr>
        </p:nvSpPr>
        <p:spPr>
          <a:xfrm>
            <a:off x="681348" y="725773"/>
            <a:ext cx="5148359" cy="2071294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2 Line Hitachi Title Slide Placeholder </a:t>
            </a:r>
            <a:br>
              <a:rPr lang="en-US" dirty="0"/>
            </a:br>
            <a:r>
              <a:rPr lang="en-US" dirty="0"/>
              <a:t>2 Line Hitachi </a:t>
            </a:r>
          </a:p>
        </p:txBody>
      </p:sp>
      <p:sp>
        <p:nvSpPr>
          <p:cNvPr id="5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81348" y="3905309"/>
            <a:ext cx="3544411" cy="307777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7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81348" y="4134651"/>
            <a:ext cx="3544411" cy="461665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>
                <a:solidFill>
                  <a:schemeClr val="bg1"/>
                </a:solidFill>
              </a:defRPr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F6F85EA-1CAA-F34C-8631-AB308554EFA3}"/>
              </a:ext>
            </a:extLst>
          </p:cNvPr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4AD3290-648D-D840-B50D-09EEC67C7D28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53000">
                <a:schemeClr val="bg1">
                  <a:alpha val="0"/>
                </a:schemeClr>
              </a:gs>
              <a:gs pos="0">
                <a:srgbClr val="53E2DD">
                  <a:alpha val="56000"/>
                  <a:lumMod val="29000"/>
                </a:srgbClr>
              </a:gs>
              <a:gs pos="100000">
                <a:schemeClr val="accent2">
                  <a:alpha val="54000"/>
                  <a:lumMod val="3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9418557-F9FB-2C49-8652-E9BC5F420543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71000">
                <a:schemeClr val="tx2">
                  <a:alpha val="0"/>
                </a:schemeClr>
              </a:gs>
              <a:gs pos="100000">
                <a:schemeClr val="tx2">
                  <a:alpha val="65000"/>
                </a:schemeClr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EF58E61-59AF-0B40-BD87-B8415DF5B20F}"/>
              </a:ext>
            </a:extLst>
          </p:cNvPr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bg1"/>
          </a:solidFill>
        </p:grpSpPr>
        <p:sp>
          <p:nvSpPr>
            <p:cNvPr id="43" name="Freeform 1">
              <a:extLst>
                <a:ext uri="{FF2B5EF4-FFF2-40B4-BE49-F238E27FC236}">
                  <a16:creationId xmlns:a16="http://schemas.microsoft.com/office/drawing/2014/main" id="{199E89AD-2705-134A-918E-26469FC8CD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4" name="Freeform 2">
              <a:extLst>
                <a:ext uri="{FF2B5EF4-FFF2-40B4-BE49-F238E27FC236}">
                  <a16:creationId xmlns:a16="http://schemas.microsoft.com/office/drawing/2014/main" id="{0494D0CA-794C-0E4B-AA3F-CCDBD5829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9DCC5901-D10A-FB4A-B33B-ED481418C9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6" name="Freeform 4">
              <a:extLst>
                <a:ext uri="{FF2B5EF4-FFF2-40B4-BE49-F238E27FC236}">
                  <a16:creationId xmlns:a16="http://schemas.microsoft.com/office/drawing/2014/main" id="{E89E2B8D-ACF0-2F45-AEFB-BDDCF2F74F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22029583-0D66-5343-987C-CF43A574E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853178F1-F0AF-6240-8FB2-09BC14B17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587CA836-2BC9-604B-8F93-B6FA817F99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9BEF782E-D5DE-734F-9C51-AB343EB19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0C8F20BF-80B8-AA43-8103-58006CF5B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5B65AB5A-E732-2349-89E5-B07E52492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18907CF9-1658-E045-9ADF-2C0EB38067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6582D328-B23E-7E45-9263-09C9535401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1C5D63DB-4DD9-2E40-B566-7E733EBF88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0" name="Freeform 14">
              <a:extLst>
                <a:ext uri="{FF2B5EF4-FFF2-40B4-BE49-F238E27FC236}">
                  <a16:creationId xmlns:a16="http://schemas.microsoft.com/office/drawing/2014/main" id="{6CC37E30-3AA8-3A4D-938A-A8B8E7A953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1" name="Freeform 15">
              <a:extLst>
                <a:ext uri="{FF2B5EF4-FFF2-40B4-BE49-F238E27FC236}">
                  <a16:creationId xmlns:a16="http://schemas.microsoft.com/office/drawing/2014/main" id="{15F29EA2-8A57-A243-BA94-EEAE6BD44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2" name="Freeform 16">
              <a:extLst>
                <a:ext uri="{FF2B5EF4-FFF2-40B4-BE49-F238E27FC236}">
                  <a16:creationId xmlns:a16="http://schemas.microsoft.com/office/drawing/2014/main" id="{8896A965-59FA-E943-96EE-601F7005C8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3" name="Freeform 17">
              <a:extLst>
                <a:ext uri="{FF2B5EF4-FFF2-40B4-BE49-F238E27FC236}">
                  <a16:creationId xmlns:a16="http://schemas.microsoft.com/office/drawing/2014/main" id="{00A05657-BBA5-E04D-A9B7-BB46AB4158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4" name="Freeform 18">
              <a:extLst>
                <a:ext uri="{FF2B5EF4-FFF2-40B4-BE49-F238E27FC236}">
                  <a16:creationId xmlns:a16="http://schemas.microsoft.com/office/drawing/2014/main" id="{75D59710-E8C6-394A-9E64-D4371DD868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5" name="Freeform 19">
              <a:extLst>
                <a:ext uri="{FF2B5EF4-FFF2-40B4-BE49-F238E27FC236}">
                  <a16:creationId xmlns:a16="http://schemas.microsoft.com/office/drawing/2014/main" id="{E31E38F3-CCD4-0D4A-B5AE-0E15DBF0F8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6" name="Freeform 20">
              <a:extLst>
                <a:ext uri="{FF2B5EF4-FFF2-40B4-BE49-F238E27FC236}">
                  <a16:creationId xmlns:a16="http://schemas.microsoft.com/office/drawing/2014/main" id="{EA81CA55-89FF-C642-90AD-A67CE9108A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7" name="Freeform 21">
              <a:extLst>
                <a:ext uri="{FF2B5EF4-FFF2-40B4-BE49-F238E27FC236}">
                  <a16:creationId xmlns:a16="http://schemas.microsoft.com/office/drawing/2014/main" id="{B993E30F-1BC1-EE44-BD31-C649CB700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1" name="Freeform 22">
              <a:extLst>
                <a:ext uri="{FF2B5EF4-FFF2-40B4-BE49-F238E27FC236}">
                  <a16:creationId xmlns:a16="http://schemas.microsoft.com/office/drawing/2014/main" id="{5220F4C6-9400-5942-B0AF-9C8740ABF2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2" name="Freeform 23">
              <a:extLst>
                <a:ext uri="{FF2B5EF4-FFF2-40B4-BE49-F238E27FC236}">
                  <a16:creationId xmlns:a16="http://schemas.microsoft.com/office/drawing/2014/main" id="{0D77D15C-59D2-2D40-8EFB-AE8D4D6452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AFE8C8C8-8C8F-0D45-B230-946FEDADA26C}"/>
              </a:ext>
            </a:extLst>
          </p:cNvPr>
          <p:cNvSpPr txBox="1"/>
          <p:nvPr userDrawn="1"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pic>
        <p:nvPicPr>
          <p:cNvPr id="68" name="Graphic 67">
            <a:extLst>
              <a:ext uri="{FF2B5EF4-FFF2-40B4-BE49-F238E27FC236}">
                <a16:creationId xmlns:a16="http://schemas.microsoft.com/office/drawing/2014/main" id="{6ACC0D47-CD69-A847-8C9B-9B3ED8E969C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94" y="812800"/>
            <a:ext cx="559153" cy="433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4556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572000" y="812800"/>
            <a:ext cx="4572000" cy="3928882"/>
          </a:xfrm>
          <a:prstGeom prst="rect">
            <a:avLst/>
          </a:prstGeom>
          <a:noFill/>
          <a:effectLst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 Placeholder 53"/>
          <p:cNvSpPr>
            <a:spLocks noGrp="1"/>
          </p:cNvSpPr>
          <p:nvPr>
            <p:ph idx="1" hasCustomPrompt="1"/>
          </p:nvPr>
        </p:nvSpPr>
        <p:spPr>
          <a:xfrm>
            <a:off x="264160" y="900668"/>
            <a:ext cx="4130040" cy="171739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5pPr>
              <a:defRPr sz="12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27646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AAA4BB55-22A6-9C48-9B94-C2A7131C877F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C087B14-6753-6F4D-B0BE-B2E45CBD35B4}"/>
              </a:ext>
            </a:extLst>
          </p:cNvPr>
          <p:cNvSpPr/>
          <p:nvPr userDrawn="1"/>
        </p:nvSpPr>
        <p:spPr>
          <a:xfrm>
            <a:off x="-1" y="0"/>
            <a:ext cx="5942893" cy="5157216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66000">
                <a:srgbClr val="051C2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ctrTitle" hasCustomPrompt="1"/>
          </p:nvPr>
        </p:nvSpPr>
        <p:spPr>
          <a:xfrm>
            <a:off x="681348" y="1407160"/>
            <a:ext cx="5148359" cy="728377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F6F85EA-1CAA-F34C-8631-AB308554EFA3}"/>
              </a:ext>
            </a:extLst>
          </p:cNvPr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4AD3290-648D-D840-B50D-09EEC67C7D28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53000">
                <a:schemeClr val="bg1">
                  <a:alpha val="0"/>
                </a:schemeClr>
              </a:gs>
              <a:gs pos="0">
                <a:srgbClr val="53E2DD">
                  <a:alpha val="56000"/>
                  <a:lumMod val="29000"/>
                </a:srgbClr>
              </a:gs>
              <a:gs pos="100000">
                <a:schemeClr val="accent2">
                  <a:alpha val="54000"/>
                  <a:lumMod val="3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9418557-F9FB-2C49-8652-E9BC5F420543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71000">
                <a:schemeClr val="tx2">
                  <a:alpha val="0"/>
                </a:schemeClr>
              </a:gs>
              <a:gs pos="100000">
                <a:schemeClr val="tx2">
                  <a:alpha val="65000"/>
                </a:schemeClr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EF58E61-59AF-0B40-BD87-B8415DF5B20F}"/>
              </a:ext>
            </a:extLst>
          </p:cNvPr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bg1"/>
          </a:solidFill>
        </p:grpSpPr>
        <p:sp>
          <p:nvSpPr>
            <p:cNvPr id="43" name="Freeform 1">
              <a:extLst>
                <a:ext uri="{FF2B5EF4-FFF2-40B4-BE49-F238E27FC236}">
                  <a16:creationId xmlns:a16="http://schemas.microsoft.com/office/drawing/2014/main" id="{199E89AD-2705-134A-918E-26469FC8CD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4" name="Freeform 2">
              <a:extLst>
                <a:ext uri="{FF2B5EF4-FFF2-40B4-BE49-F238E27FC236}">
                  <a16:creationId xmlns:a16="http://schemas.microsoft.com/office/drawing/2014/main" id="{0494D0CA-794C-0E4B-AA3F-CCDBD5829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9DCC5901-D10A-FB4A-B33B-ED481418C9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6" name="Freeform 4">
              <a:extLst>
                <a:ext uri="{FF2B5EF4-FFF2-40B4-BE49-F238E27FC236}">
                  <a16:creationId xmlns:a16="http://schemas.microsoft.com/office/drawing/2014/main" id="{E89E2B8D-ACF0-2F45-AEFB-BDDCF2F74F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22029583-0D66-5343-987C-CF43A574E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853178F1-F0AF-6240-8FB2-09BC14B17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587CA836-2BC9-604B-8F93-B6FA817F99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9BEF782E-D5DE-734F-9C51-AB343EB19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0C8F20BF-80B8-AA43-8103-58006CF5B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5B65AB5A-E732-2349-89E5-B07E52492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18907CF9-1658-E045-9ADF-2C0EB38067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6582D328-B23E-7E45-9263-09C9535401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1C5D63DB-4DD9-2E40-B566-7E733EBF88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0" name="Freeform 14">
              <a:extLst>
                <a:ext uri="{FF2B5EF4-FFF2-40B4-BE49-F238E27FC236}">
                  <a16:creationId xmlns:a16="http://schemas.microsoft.com/office/drawing/2014/main" id="{6CC37E30-3AA8-3A4D-938A-A8B8E7A953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1" name="Freeform 15">
              <a:extLst>
                <a:ext uri="{FF2B5EF4-FFF2-40B4-BE49-F238E27FC236}">
                  <a16:creationId xmlns:a16="http://schemas.microsoft.com/office/drawing/2014/main" id="{15F29EA2-8A57-A243-BA94-EEAE6BD44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2" name="Freeform 16">
              <a:extLst>
                <a:ext uri="{FF2B5EF4-FFF2-40B4-BE49-F238E27FC236}">
                  <a16:creationId xmlns:a16="http://schemas.microsoft.com/office/drawing/2014/main" id="{8896A965-59FA-E943-96EE-601F7005C8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3" name="Freeform 17">
              <a:extLst>
                <a:ext uri="{FF2B5EF4-FFF2-40B4-BE49-F238E27FC236}">
                  <a16:creationId xmlns:a16="http://schemas.microsoft.com/office/drawing/2014/main" id="{00A05657-BBA5-E04D-A9B7-BB46AB4158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4" name="Freeform 18">
              <a:extLst>
                <a:ext uri="{FF2B5EF4-FFF2-40B4-BE49-F238E27FC236}">
                  <a16:creationId xmlns:a16="http://schemas.microsoft.com/office/drawing/2014/main" id="{75D59710-E8C6-394A-9E64-D4371DD868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5" name="Freeform 19">
              <a:extLst>
                <a:ext uri="{FF2B5EF4-FFF2-40B4-BE49-F238E27FC236}">
                  <a16:creationId xmlns:a16="http://schemas.microsoft.com/office/drawing/2014/main" id="{E31E38F3-CCD4-0D4A-B5AE-0E15DBF0F8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6" name="Freeform 20">
              <a:extLst>
                <a:ext uri="{FF2B5EF4-FFF2-40B4-BE49-F238E27FC236}">
                  <a16:creationId xmlns:a16="http://schemas.microsoft.com/office/drawing/2014/main" id="{EA81CA55-89FF-C642-90AD-A67CE9108A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7" name="Freeform 21">
              <a:extLst>
                <a:ext uri="{FF2B5EF4-FFF2-40B4-BE49-F238E27FC236}">
                  <a16:creationId xmlns:a16="http://schemas.microsoft.com/office/drawing/2014/main" id="{B993E30F-1BC1-EE44-BD31-C649CB700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1" name="Freeform 22">
              <a:extLst>
                <a:ext uri="{FF2B5EF4-FFF2-40B4-BE49-F238E27FC236}">
                  <a16:creationId xmlns:a16="http://schemas.microsoft.com/office/drawing/2014/main" id="{5220F4C6-9400-5942-B0AF-9C8740ABF2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2" name="Freeform 23">
              <a:extLst>
                <a:ext uri="{FF2B5EF4-FFF2-40B4-BE49-F238E27FC236}">
                  <a16:creationId xmlns:a16="http://schemas.microsoft.com/office/drawing/2014/main" id="{0D77D15C-59D2-2D40-8EFB-AE8D4D6452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AFE8C8C8-8C8F-0D45-B230-946FEDADA26C}"/>
              </a:ext>
            </a:extLst>
          </p:cNvPr>
          <p:cNvSpPr txBox="1"/>
          <p:nvPr userDrawn="1"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pic>
        <p:nvPicPr>
          <p:cNvPr id="69" name="Graphic 68">
            <a:extLst>
              <a:ext uri="{FF2B5EF4-FFF2-40B4-BE49-F238E27FC236}">
                <a16:creationId xmlns:a16="http://schemas.microsoft.com/office/drawing/2014/main" id="{7CBF5BC0-8976-8B43-AA6F-BF4941E8F94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6" y="1407160"/>
            <a:ext cx="562508" cy="3750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409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AAA4BB55-22A6-9C48-9B94-C2A7131C877F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4AD3290-648D-D840-B50D-09EEC67C7D28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53000">
                <a:schemeClr val="bg1">
                  <a:alpha val="0"/>
                </a:schemeClr>
              </a:gs>
              <a:gs pos="0">
                <a:srgbClr val="53E2DD">
                  <a:alpha val="56000"/>
                  <a:lumMod val="29000"/>
                </a:srgbClr>
              </a:gs>
              <a:gs pos="100000">
                <a:schemeClr val="accent2">
                  <a:alpha val="54000"/>
                  <a:lumMod val="3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9418557-F9FB-2C49-8652-E9BC5F420543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71000">
                <a:schemeClr val="tx2">
                  <a:alpha val="0"/>
                </a:schemeClr>
              </a:gs>
              <a:gs pos="100000">
                <a:schemeClr val="tx2">
                  <a:alpha val="65000"/>
                </a:schemeClr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EF58E61-59AF-0B40-BD87-B8415DF5B20F}"/>
              </a:ext>
            </a:extLst>
          </p:cNvPr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bg1"/>
          </a:solidFill>
        </p:grpSpPr>
        <p:sp>
          <p:nvSpPr>
            <p:cNvPr id="43" name="Freeform 1">
              <a:extLst>
                <a:ext uri="{FF2B5EF4-FFF2-40B4-BE49-F238E27FC236}">
                  <a16:creationId xmlns:a16="http://schemas.microsoft.com/office/drawing/2014/main" id="{199E89AD-2705-134A-918E-26469FC8CD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4" name="Freeform 2">
              <a:extLst>
                <a:ext uri="{FF2B5EF4-FFF2-40B4-BE49-F238E27FC236}">
                  <a16:creationId xmlns:a16="http://schemas.microsoft.com/office/drawing/2014/main" id="{0494D0CA-794C-0E4B-AA3F-CCDBD5829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9DCC5901-D10A-FB4A-B33B-ED481418C9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6" name="Freeform 4">
              <a:extLst>
                <a:ext uri="{FF2B5EF4-FFF2-40B4-BE49-F238E27FC236}">
                  <a16:creationId xmlns:a16="http://schemas.microsoft.com/office/drawing/2014/main" id="{E89E2B8D-ACF0-2F45-AEFB-BDDCF2F74F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22029583-0D66-5343-987C-CF43A574E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853178F1-F0AF-6240-8FB2-09BC14B17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587CA836-2BC9-604B-8F93-B6FA817F99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9BEF782E-D5DE-734F-9C51-AB343EB19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0C8F20BF-80B8-AA43-8103-58006CF5B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5B65AB5A-E732-2349-89E5-B07E52492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18907CF9-1658-E045-9ADF-2C0EB38067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6582D328-B23E-7E45-9263-09C9535401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1C5D63DB-4DD9-2E40-B566-7E733EBF88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0" name="Freeform 14">
              <a:extLst>
                <a:ext uri="{FF2B5EF4-FFF2-40B4-BE49-F238E27FC236}">
                  <a16:creationId xmlns:a16="http://schemas.microsoft.com/office/drawing/2014/main" id="{6CC37E30-3AA8-3A4D-938A-A8B8E7A953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1" name="Freeform 15">
              <a:extLst>
                <a:ext uri="{FF2B5EF4-FFF2-40B4-BE49-F238E27FC236}">
                  <a16:creationId xmlns:a16="http://schemas.microsoft.com/office/drawing/2014/main" id="{15F29EA2-8A57-A243-BA94-EEAE6BD44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2" name="Freeform 16">
              <a:extLst>
                <a:ext uri="{FF2B5EF4-FFF2-40B4-BE49-F238E27FC236}">
                  <a16:creationId xmlns:a16="http://schemas.microsoft.com/office/drawing/2014/main" id="{8896A965-59FA-E943-96EE-601F7005C8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3" name="Freeform 17">
              <a:extLst>
                <a:ext uri="{FF2B5EF4-FFF2-40B4-BE49-F238E27FC236}">
                  <a16:creationId xmlns:a16="http://schemas.microsoft.com/office/drawing/2014/main" id="{00A05657-BBA5-E04D-A9B7-BB46AB4158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4" name="Freeform 18">
              <a:extLst>
                <a:ext uri="{FF2B5EF4-FFF2-40B4-BE49-F238E27FC236}">
                  <a16:creationId xmlns:a16="http://schemas.microsoft.com/office/drawing/2014/main" id="{75D59710-E8C6-394A-9E64-D4371DD868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5" name="Freeform 19">
              <a:extLst>
                <a:ext uri="{FF2B5EF4-FFF2-40B4-BE49-F238E27FC236}">
                  <a16:creationId xmlns:a16="http://schemas.microsoft.com/office/drawing/2014/main" id="{E31E38F3-CCD4-0D4A-B5AE-0E15DBF0F8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6" name="Freeform 20">
              <a:extLst>
                <a:ext uri="{FF2B5EF4-FFF2-40B4-BE49-F238E27FC236}">
                  <a16:creationId xmlns:a16="http://schemas.microsoft.com/office/drawing/2014/main" id="{EA81CA55-89FF-C642-90AD-A67CE9108A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7" name="Freeform 21">
              <a:extLst>
                <a:ext uri="{FF2B5EF4-FFF2-40B4-BE49-F238E27FC236}">
                  <a16:creationId xmlns:a16="http://schemas.microsoft.com/office/drawing/2014/main" id="{B993E30F-1BC1-EE44-BD31-C649CB700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1" name="Freeform 22">
              <a:extLst>
                <a:ext uri="{FF2B5EF4-FFF2-40B4-BE49-F238E27FC236}">
                  <a16:creationId xmlns:a16="http://schemas.microsoft.com/office/drawing/2014/main" id="{5220F4C6-9400-5942-B0AF-9C8740ABF2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2" name="Freeform 23">
              <a:extLst>
                <a:ext uri="{FF2B5EF4-FFF2-40B4-BE49-F238E27FC236}">
                  <a16:creationId xmlns:a16="http://schemas.microsoft.com/office/drawing/2014/main" id="{0D77D15C-59D2-2D40-8EFB-AE8D4D6452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AFE8C8C8-8C8F-0D45-B230-946FEDADA26C}"/>
              </a:ext>
            </a:extLst>
          </p:cNvPr>
          <p:cNvSpPr txBox="1"/>
          <p:nvPr userDrawn="1"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4B91763-ADC0-7D44-9870-E4D1DAD3B86E}"/>
              </a:ext>
            </a:extLst>
          </p:cNvPr>
          <p:cNvSpPr/>
          <p:nvPr userDrawn="1"/>
        </p:nvSpPr>
        <p:spPr>
          <a:xfrm>
            <a:off x="0" y="0"/>
            <a:ext cx="5943600" cy="5157216"/>
          </a:xfrm>
          <a:prstGeom prst="rect">
            <a:avLst/>
          </a:prstGeom>
          <a:gradFill>
            <a:gsLst>
              <a:gs pos="0">
                <a:schemeClr val="accent2">
                  <a:lumMod val="42000"/>
                </a:schemeClr>
              </a:gs>
              <a:gs pos="93000">
                <a:schemeClr val="accent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ctrTitle" hasCustomPrompt="1"/>
          </p:nvPr>
        </p:nvSpPr>
        <p:spPr>
          <a:xfrm>
            <a:off x="681348" y="1407160"/>
            <a:ext cx="5148359" cy="728377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F6F85EA-1CAA-F34C-8631-AB308554EFA3}"/>
              </a:ext>
            </a:extLst>
          </p:cNvPr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pic>
        <p:nvPicPr>
          <p:cNvPr id="69" name="Graphic 68">
            <a:extLst>
              <a:ext uri="{FF2B5EF4-FFF2-40B4-BE49-F238E27FC236}">
                <a16:creationId xmlns:a16="http://schemas.microsoft.com/office/drawing/2014/main" id="{7CBF5BC0-8976-8B43-AA6F-BF4941E8F94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6" y="1422787"/>
            <a:ext cx="562508" cy="371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030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5729740B-1624-B54D-8EBF-465176DD950A}"/>
              </a:ext>
            </a:extLst>
          </p:cNvPr>
          <p:cNvSpPr/>
          <p:nvPr userDrawn="1"/>
        </p:nvSpPr>
        <p:spPr>
          <a:xfrm>
            <a:off x="0" y="0"/>
            <a:ext cx="5943600" cy="5157216"/>
          </a:xfrm>
          <a:prstGeom prst="rect">
            <a:avLst/>
          </a:prstGeom>
          <a:gradFill>
            <a:gsLst>
              <a:gs pos="0">
                <a:schemeClr val="tx1">
                  <a:lumMod val="60000"/>
                  <a:lumOff val="40000"/>
                  <a:alpha val="25000"/>
                </a:schemeClr>
              </a:gs>
              <a:gs pos="98000">
                <a:schemeClr val="bg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AA4BB55-22A6-9C48-9B94-C2A7131C877F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4AD3290-648D-D840-B50D-09EEC67C7D28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53000">
                <a:schemeClr val="bg1">
                  <a:alpha val="0"/>
                </a:schemeClr>
              </a:gs>
              <a:gs pos="0">
                <a:srgbClr val="53E2DD">
                  <a:alpha val="56000"/>
                  <a:lumMod val="29000"/>
                </a:srgbClr>
              </a:gs>
              <a:gs pos="100000">
                <a:schemeClr val="accent2">
                  <a:alpha val="54000"/>
                  <a:lumMod val="3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9418557-F9FB-2C49-8652-E9BC5F420543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71000">
                <a:schemeClr val="tx2">
                  <a:alpha val="0"/>
                </a:schemeClr>
              </a:gs>
              <a:gs pos="100000">
                <a:schemeClr val="tx2">
                  <a:alpha val="65000"/>
                </a:schemeClr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EF58E61-59AF-0B40-BD87-B8415DF5B20F}"/>
              </a:ext>
            </a:extLst>
          </p:cNvPr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bg1"/>
          </a:solidFill>
        </p:grpSpPr>
        <p:sp>
          <p:nvSpPr>
            <p:cNvPr id="43" name="Freeform 1">
              <a:extLst>
                <a:ext uri="{FF2B5EF4-FFF2-40B4-BE49-F238E27FC236}">
                  <a16:creationId xmlns:a16="http://schemas.microsoft.com/office/drawing/2014/main" id="{199E89AD-2705-134A-918E-26469FC8CD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4" name="Freeform 2">
              <a:extLst>
                <a:ext uri="{FF2B5EF4-FFF2-40B4-BE49-F238E27FC236}">
                  <a16:creationId xmlns:a16="http://schemas.microsoft.com/office/drawing/2014/main" id="{0494D0CA-794C-0E4B-AA3F-CCDBD5829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9DCC5901-D10A-FB4A-B33B-ED481418C9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6" name="Freeform 4">
              <a:extLst>
                <a:ext uri="{FF2B5EF4-FFF2-40B4-BE49-F238E27FC236}">
                  <a16:creationId xmlns:a16="http://schemas.microsoft.com/office/drawing/2014/main" id="{E89E2B8D-ACF0-2F45-AEFB-BDDCF2F74F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22029583-0D66-5343-987C-CF43A574E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853178F1-F0AF-6240-8FB2-09BC14B17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587CA836-2BC9-604B-8F93-B6FA817F99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9BEF782E-D5DE-734F-9C51-AB343EB19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0C8F20BF-80B8-AA43-8103-58006CF5B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5B65AB5A-E732-2349-89E5-B07E52492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18907CF9-1658-E045-9ADF-2C0EB38067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6582D328-B23E-7E45-9263-09C9535401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1C5D63DB-4DD9-2E40-B566-7E733EBF88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0" name="Freeform 14">
              <a:extLst>
                <a:ext uri="{FF2B5EF4-FFF2-40B4-BE49-F238E27FC236}">
                  <a16:creationId xmlns:a16="http://schemas.microsoft.com/office/drawing/2014/main" id="{6CC37E30-3AA8-3A4D-938A-A8B8E7A953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1" name="Freeform 15">
              <a:extLst>
                <a:ext uri="{FF2B5EF4-FFF2-40B4-BE49-F238E27FC236}">
                  <a16:creationId xmlns:a16="http://schemas.microsoft.com/office/drawing/2014/main" id="{15F29EA2-8A57-A243-BA94-EEAE6BD44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2" name="Freeform 16">
              <a:extLst>
                <a:ext uri="{FF2B5EF4-FFF2-40B4-BE49-F238E27FC236}">
                  <a16:creationId xmlns:a16="http://schemas.microsoft.com/office/drawing/2014/main" id="{8896A965-59FA-E943-96EE-601F7005C8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3" name="Freeform 17">
              <a:extLst>
                <a:ext uri="{FF2B5EF4-FFF2-40B4-BE49-F238E27FC236}">
                  <a16:creationId xmlns:a16="http://schemas.microsoft.com/office/drawing/2014/main" id="{00A05657-BBA5-E04D-A9B7-BB46AB4158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4" name="Freeform 18">
              <a:extLst>
                <a:ext uri="{FF2B5EF4-FFF2-40B4-BE49-F238E27FC236}">
                  <a16:creationId xmlns:a16="http://schemas.microsoft.com/office/drawing/2014/main" id="{75D59710-E8C6-394A-9E64-D4371DD868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5" name="Freeform 19">
              <a:extLst>
                <a:ext uri="{FF2B5EF4-FFF2-40B4-BE49-F238E27FC236}">
                  <a16:creationId xmlns:a16="http://schemas.microsoft.com/office/drawing/2014/main" id="{E31E38F3-CCD4-0D4A-B5AE-0E15DBF0F8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6" name="Freeform 20">
              <a:extLst>
                <a:ext uri="{FF2B5EF4-FFF2-40B4-BE49-F238E27FC236}">
                  <a16:creationId xmlns:a16="http://schemas.microsoft.com/office/drawing/2014/main" id="{EA81CA55-89FF-C642-90AD-A67CE9108A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7" name="Freeform 21">
              <a:extLst>
                <a:ext uri="{FF2B5EF4-FFF2-40B4-BE49-F238E27FC236}">
                  <a16:creationId xmlns:a16="http://schemas.microsoft.com/office/drawing/2014/main" id="{B993E30F-1BC1-EE44-BD31-C649CB700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1" name="Freeform 22">
              <a:extLst>
                <a:ext uri="{FF2B5EF4-FFF2-40B4-BE49-F238E27FC236}">
                  <a16:creationId xmlns:a16="http://schemas.microsoft.com/office/drawing/2014/main" id="{5220F4C6-9400-5942-B0AF-9C8740ABF2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2" name="Freeform 23">
              <a:extLst>
                <a:ext uri="{FF2B5EF4-FFF2-40B4-BE49-F238E27FC236}">
                  <a16:creationId xmlns:a16="http://schemas.microsoft.com/office/drawing/2014/main" id="{0D77D15C-59D2-2D40-8EFB-AE8D4D6452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AFE8C8C8-8C8F-0D45-B230-946FEDADA26C}"/>
              </a:ext>
            </a:extLst>
          </p:cNvPr>
          <p:cNvSpPr txBox="1"/>
          <p:nvPr userDrawn="1"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57" name="Title 1"/>
          <p:cNvSpPr>
            <a:spLocks noGrp="1"/>
          </p:cNvSpPr>
          <p:nvPr>
            <p:ph type="ctrTitle" hasCustomPrompt="1"/>
          </p:nvPr>
        </p:nvSpPr>
        <p:spPr>
          <a:xfrm>
            <a:off x="681348" y="1407160"/>
            <a:ext cx="5148359" cy="728377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F6F85EA-1CAA-F34C-8631-AB308554EFA3}"/>
              </a:ext>
            </a:extLst>
          </p:cNvPr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pic>
        <p:nvPicPr>
          <p:cNvPr id="69" name="Graphic 68">
            <a:extLst>
              <a:ext uri="{FF2B5EF4-FFF2-40B4-BE49-F238E27FC236}">
                <a16:creationId xmlns:a16="http://schemas.microsoft.com/office/drawing/2014/main" id="{7CBF5BC0-8976-8B43-AA6F-BF4941E8F94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16" y="1422787"/>
            <a:ext cx="562507" cy="371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348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FF32021-29D2-9C47-8045-974010C91D87}"/>
              </a:ext>
            </a:extLst>
          </p:cNvPr>
          <p:cNvGrpSpPr/>
          <p:nvPr userDrawn="1"/>
        </p:nvGrpSpPr>
        <p:grpSpPr>
          <a:xfrm>
            <a:off x="3220799" y="2167157"/>
            <a:ext cx="2702403" cy="772379"/>
            <a:chOff x="2751138" y="3262313"/>
            <a:chExt cx="4665662" cy="1333500"/>
          </a:xfrm>
          <a:solidFill>
            <a:schemeClr val="tx2"/>
          </a:solidFill>
        </p:grpSpPr>
        <p:sp>
          <p:nvSpPr>
            <p:cNvPr id="7" name="Freeform 1">
              <a:extLst>
                <a:ext uri="{FF2B5EF4-FFF2-40B4-BE49-F238E27FC236}">
                  <a16:creationId xmlns:a16="http://schemas.microsoft.com/office/drawing/2014/main" id="{83CE6286-25E3-5C4E-A402-875F996A19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" name="Freeform 2">
              <a:extLst>
                <a:ext uri="{FF2B5EF4-FFF2-40B4-BE49-F238E27FC236}">
                  <a16:creationId xmlns:a16="http://schemas.microsoft.com/office/drawing/2014/main" id="{2EC2A32F-DAB4-A34C-BECE-3159FE0ED2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" name="Freeform 3">
              <a:extLst>
                <a:ext uri="{FF2B5EF4-FFF2-40B4-BE49-F238E27FC236}">
                  <a16:creationId xmlns:a16="http://schemas.microsoft.com/office/drawing/2014/main" id="{CFABE890-91A1-A04E-9227-E7CB6243BC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8E064252-4A22-6A4E-8BBD-75A62A08BA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108F8D7-9972-EC43-941C-8F985F4440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10D7BD6F-B44E-EF4C-83B8-E49C990AC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E06C8074-B6A4-D343-A411-79AE8E570D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1E4F36FC-5229-474D-A767-FDC5532A65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BA860B57-E95B-4342-A506-9A42E1803E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897D6BB8-A7EC-C84A-8F10-580F991CAD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3253D0BF-D0CA-294A-87A8-6172CE8128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id="{F9D6BD53-2FE1-CE44-92D5-50802875B2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432EA4C5-D602-4148-99B5-0BF331DA5D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4FD60C1F-71C0-A243-9C31-2968452914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1" name="Freeform 15">
              <a:extLst>
                <a:ext uri="{FF2B5EF4-FFF2-40B4-BE49-F238E27FC236}">
                  <a16:creationId xmlns:a16="http://schemas.microsoft.com/office/drawing/2014/main" id="{EB650860-5485-BF4E-9DAE-9C0BE14B4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id="{3639B162-E315-9944-9634-88539E445D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A01E662E-D4C5-DB43-8567-E5D9253BE7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4" name="Freeform 18">
              <a:extLst>
                <a:ext uri="{FF2B5EF4-FFF2-40B4-BE49-F238E27FC236}">
                  <a16:creationId xmlns:a16="http://schemas.microsoft.com/office/drawing/2014/main" id="{7679E9D1-6292-4845-9FEC-1DFBC6D8B0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5" name="Freeform 19">
              <a:extLst>
                <a:ext uri="{FF2B5EF4-FFF2-40B4-BE49-F238E27FC236}">
                  <a16:creationId xmlns:a16="http://schemas.microsoft.com/office/drawing/2014/main" id="{FECDD6A7-9B36-3B40-8AF1-FD48E9C806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6" name="Freeform 20">
              <a:extLst>
                <a:ext uri="{FF2B5EF4-FFF2-40B4-BE49-F238E27FC236}">
                  <a16:creationId xmlns:a16="http://schemas.microsoft.com/office/drawing/2014/main" id="{B3C96E36-B987-2349-8F1E-998EBC6160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7" name="Freeform 21">
              <a:extLst>
                <a:ext uri="{FF2B5EF4-FFF2-40B4-BE49-F238E27FC236}">
                  <a16:creationId xmlns:a16="http://schemas.microsoft.com/office/drawing/2014/main" id="{FF7B3013-28D9-A64B-A060-6708D5DA4F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8" name="Freeform 22">
              <a:extLst>
                <a:ext uri="{FF2B5EF4-FFF2-40B4-BE49-F238E27FC236}">
                  <a16:creationId xmlns:a16="http://schemas.microsoft.com/office/drawing/2014/main" id="{FC0A6B0C-2650-EE46-903A-3A00341DB0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9" name="Freeform 23">
              <a:extLst>
                <a:ext uri="{FF2B5EF4-FFF2-40B4-BE49-F238E27FC236}">
                  <a16:creationId xmlns:a16="http://schemas.microsoft.com/office/drawing/2014/main" id="{B20E0327-FDB7-B64E-AC54-0011F59D99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0709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86272875-7CFB-E54E-A464-DFC119BD2050}"/>
              </a:ext>
            </a:extLst>
          </p:cNvPr>
          <p:cNvSpPr/>
          <p:nvPr userDrawn="1"/>
        </p:nvSpPr>
        <p:spPr>
          <a:xfrm>
            <a:off x="0" y="0"/>
            <a:ext cx="5943600" cy="5157216"/>
          </a:xfrm>
          <a:prstGeom prst="rect">
            <a:avLst/>
          </a:prstGeom>
          <a:gradFill>
            <a:gsLst>
              <a:gs pos="0">
                <a:schemeClr val="accent2">
                  <a:lumMod val="42000"/>
                </a:schemeClr>
              </a:gs>
              <a:gs pos="93000">
                <a:schemeClr val="accent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AA4BB55-22A6-9C48-9B94-C2A7131C877F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5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1348" y="2803117"/>
            <a:ext cx="4286425" cy="830997"/>
          </a:xfrm>
          <a:prstGeom prst="rect">
            <a:avLst/>
          </a:prstGeom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charset="2"/>
              <a:buNone/>
              <a:tabLst/>
              <a:defRPr sz="2400" cap="none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placeholder</a:t>
            </a:r>
          </a:p>
          <a:p>
            <a:r>
              <a:rPr lang="en-US" dirty="0"/>
              <a:t>Subtitle placeholder</a:t>
            </a:r>
          </a:p>
        </p:txBody>
      </p:sp>
      <p:sp>
        <p:nvSpPr>
          <p:cNvPr id="57" name="Title 1"/>
          <p:cNvSpPr>
            <a:spLocks noGrp="1"/>
          </p:cNvSpPr>
          <p:nvPr>
            <p:ph type="ctrTitle" hasCustomPrompt="1"/>
          </p:nvPr>
        </p:nvSpPr>
        <p:spPr>
          <a:xfrm>
            <a:off x="681348" y="725773"/>
            <a:ext cx="5148359" cy="2071294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2 Line Hitachi Title Slide Placeholder </a:t>
            </a:r>
            <a:br>
              <a:rPr lang="en-US" dirty="0"/>
            </a:br>
            <a:r>
              <a:rPr lang="en-US" dirty="0"/>
              <a:t>2 Line Hitachi </a:t>
            </a:r>
          </a:p>
        </p:txBody>
      </p:sp>
      <p:sp>
        <p:nvSpPr>
          <p:cNvPr id="5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81349" y="3905309"/>
            <a:ext cx="3544411" cy="307777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7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81349" y="4134651"/>
            <a:ext cx="3544411" cy="461665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>
                <a:solidFill>
                  <a:schemeClr val="bg1"/>
                </a:solidFill>
              </a:defRPr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F6F85EA-1CAA-F34C-8631-AB308554EFA3}"/>
              </a:ext>
            </a:extLst>
          </p:cNvPr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4AD3290-648D-D840-B50D-09EEC67C7D28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53000">
                <a:schemeClr val="bg1">
                  <a:alpha val="0"/>
                </a:schemeClr>
              </a:gs>
              <a:gs pos="0">
                <a:srgbClr val="53E2DD">
                  <a:alpha val="56000"/>
                  <a:lumMod val="45000"/>
                </a:srgbClr>
              </a:gs>
              <a:gs pos="100000">
                <a:schemeClr val="accent2">
                  <a:lumMod val="61000"/>
                  <a:alpha val="54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9418557-F9FB-2C49-8652-E9BC5F420543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71000">
                <a:schemeClr val="tx2">
                  <a:alpha val="0"/>
                </a:schemeClr>
              </a:gs>
              <a:gs pos="100000">
                <a:schemeClr val="tx2">
                  <a:alpha val="65000"/>
                </a:schemeClr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EF58E61-59AF-0B40-BD87-B8415DF5B20F}"/>
              </a:ext>
            </a:extLst>
          </p:cNvPr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bg1"/>
          </a:solidFill>
        </p:grpSpPr>
        <p:sp>
          <p:nvSpPr>
            <p:cNvPr id="43" name="Freeform 1">
              <a:extLst>
                <a:ext uri="{FF2B5EF4-FFF2-40B4-BE49-F238E27FC236}">
                  <a16:creationId xmlns:a16="http://schemas.microsoft.com/office/drawing/2014/main" id="{199E89AD-2705-134A-918E-26469FC8CD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4" name="Freeform 2">
              <a:extLst>
                <a:ext uri="{FF2B5EF4-FFF2-40B4-BE49-F238E27FC236}">
                  <a16:creationId xmlns:a16="http://schemas.microsoft.com/office/drawing/2014/main" id="{0494D0CA-794C-0E4B-AA3F-CCDBD5829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9DCC5901-D10A-FB4A-B33B-ED481418C9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6" name="Freeform 4">
              <a:extLst>
                <a:ext uri="{FF2B5EF4-FFF2-40B4-BE49-F238E27FC236}">
                  <a16:creationId xmlns:a16="http://schemas.microsoft.com/office/drawing/2014/main" id="{E89E2B8D-ACF0-2F45-AEFB-BDDCF2F74F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22029583-0D66-5343-987C-CF43A574E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853178F1-F0AF-6240-8FB2-09BC14B17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587CA836-2BC9-604B-8F93-B6FA817F99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9BEF782E-D5DE-734F-9C51-AB343EB19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0C8F20BF-80B8-AA43-8103-58006CF5B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5B65AB5A-E732-2349-89E5-B07E52492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18907CF9-1658-E045-9ADF-2C0EB38067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6582D328-B23E-7E45-9263-09C9535401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1C5D63DB-4DD9-2E40-B566-7E733EBF88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0" name="Freeform 14">
              <a:extLst>
                <a:ext uri="{FF2B5EF4-FFF2-40B4-BE49-F238E27FC236}">
                  <a16:creationId xmlns:a16="http://schemas.microsoft.com/office/drawing/2014/main" id="{6CC37E30-3AA8-3A4D-938A-A8B8E7A953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1" name="Freeform 15">
              <a:extLst>
                <a:ext uri="{FF2B5EF4-FFF2-40B4-BE49-F238E27FC236}">
                  <a16:creationId xmlns:a16="http://schemas.microsoft.com/office/drawing/2014/main" id="{15F29EA2-8A57-A243-BA94-EEAE6BD44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2" name="Freeform 16">
              <a:extLst>
                <a:ext uri="{FF2B5EF4-FFF2-40B4-BE49-F238E27FC236}">
                  <a16:creationId xmlns:a16="http://schemas.microsoft.com/office/drawing/2014/main" id="{8896A965-59FA-E943-96EE-601F7005C8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3" name="Freeform 17">
              <a:extLst>
                <a:ext uri="{FF2B5EF4-FFF2-40B4-BE49-F238E27FC236}">
                  <a16:creationId xmlns:a16="http://schemas.microsoft.com/office/drawing/2014/main" id="{00A05657-BBA5-E04D-A9B7-BB46AB4158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4" name="Freeform 18">
              <a:extLst>
                <a:ext uri="{FF2B5EF4-FFF2-40B4-BE49-F238E27FC236}">
                  <a16:creationId xmlns:a16="http://schemas.microsoft.com/office/drawing/2014/main" id="{75D59710-E8C6-394A-9E64-D4371DD868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5" name="Freeform 19">
              <a:extLst>
                <a:ext uri="{FF2B5EF4-FFF2-40B4-BE49-F238E27FC236}">
                  <a16:creationId xmlns:a16="http://schemas.microsoft.com/office/drawing/2014/main" id="{E31E38F3-CCD4-0D4A-B5AE-0E15DBF0F8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6" name="Freeform 20">
              <a:extLst>
                <a:ext uri="{FF2B5EF4-FFF2-40B4-BE49-F238E27FC236}">
                  <a16:creationId xmlns:a16="http://schemas.microsoft.com/office/drawing/2014/main" id="{EA81CA55-89FF-C642-90AD-A67CE9108A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7" name="Freeform 21">
              <a:extLst>
                <a:ext uri="{FF2B5EF4-FFF2-40B4-BE49-F238E27FC236}">
                  <a16:creationId xmlns:a16="http://schemas.microsoft.com/office/drawing/2014/main" id="{B993E30F-1BC1-EE44-BD31-C649CB700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1" name="Freeform 22">
              <a:extLst>
                <a:ext uri="{FF2B5EF4-FFF2-40B4-BE49-F238E27FC236}">
                  <a16:creationId xmlns:a16="http://schemas.microsoft.com/office/drawing/2014/main" id="{5220F4C6-9400-5942-B0AF-9C8740ABF2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2" name="Freeform 23">
              <a:extLst>
                <a:ext uri="{FF2B5EF4-FFF2-40B4-BE49-F238E27FC236}">
                  <a16:creationId xmlns:a16="http://schemas.microsoft.com/office/drawing/2014/main" id="{0D77D15C-59D2-2D40-8EFB-AE8D4D6452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AFE8C8C8-8C8F-0D45-B230-946FEDADA26C}"/>
              </a:ext>
            </a:extLst>
          </p:cNvPr>
          <p:cNvSpPr txBox="1"/>
          <p:nvPr userDrawn="1"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pic>
        <p:nvPicPr>
          <p:cNvPr id="69" name="Graphic 68">
            <a:extLst>
              <a:ext uri="{FF2B5EF4-FFF2-40B4-BE49-F238E27FC236}">
                <a16:creationId xmlns:a16="http://schemas.microsoft.com/office/drawing/2014/main" id="{7F8506D6-2826-9940-A9FF-C97A6858C4C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994" y="812800"/>
            <a:ext cx="559153" cy="433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76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67">
            <a:extLst>
              <a:ext uri="{FF2B5EF4-FFF2-40B4-BE49-F238E27FC236}">
                <a16:creationId xmlns:a16="http://schemas.microsoft.com/office/drawing/2014/main" id="{E7EADFDC-3E4E-4F4C-A7A9-CF8DD7D900B7}"/>
              </a:ext>
            </a:extLst>
          </p:cNvPr>
          <p:cNvSpPr/>
          <p:nvPr userDrawn="1"/>
        </p:nvSpPr>
        <p:spPr>
          <a:xfrm>
            <a:off x="0" y="0"/>
            <a:ext cx="5943600" cy="5157216"/>
          </a:xfrm>
          <a:prstGeom prst="rect">
            <a:avLst/>
          </a:prstGeom>
          <a:gradFill>
            <a:gsLst>
              <a:gs pos="0">
                <a:schemeClr val="tx1">
                  <a:lumMod val="60000"/>
                  <a:lumOff val="40000"/>
                  <a:alpha val="25000"/>
                </a:schemeClr>
              </a:gs>
              <a:gs pos="98000">
                <a:schemeClr val="bg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AA4BB55-22A6-9C48-9B94-C2A7131C877F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5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1348" y="2803117"/>
            <a:ext cx="4286425" cy="830997"/>
          </a:xfrm>
          <a:prstGeom prst="rect">
            <a:avLst/>
          </a:prstGeom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charset="2"/>
              <a:buNone/>
              <a:tabLst/>
              <a:defRPr sz="2400" cap="none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placeholder</a:t>
            </a:r>
          </a:p>
          <a:p>
            <a:r>
              <a:rPr lang="en-US" dirty="0"/>
              <a:t>Subtitle placeholder</a:t>
            </a:r>
          </a:p>
        </p:txBody>
      </p:sp>
      <p:sp>
        <p:nvSpPr>
          <p:cNvPr id="57" name="Title 1"/>
          <p:cNvSpPr>
            <a:spLocks noGrp="1"/>
          </p:cNvSpPr>
          <p:nvPr>
            <p:ph type="ctrTitle" hasCustomPrompt="1"/>
          </p:nvPr>
        </p:nvSpPr>
        <p:spPr>
          <a:xfrm>
            <a:off x="681348" y="725773"/>
            <a:ext cx="5148359" cy="2071294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2 Line Hitachi Title Slide Placeholder </a:t>
            </a:r>
            <a:br>
              <a:rPr lang="en-US" dirty="0"/>
            </a:br>
            <a:r>
              <a:rPr lang="en-US" dirty="0"/>
              <a:t>2 Line Hitachi </a:t>
            </a:r>
          </a:p>
        </p:txBody>
      </p:sp>
      <p:sp>
        <p:nvSpPr>
          <p:cNvPr id="5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81349" y="3905309"/>
            <a:ext cx="3544411" cy="307777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 baseline="0">
                <a:solidFill>
                  <a:schemeClr val="tx1"/>
                </a:solidFill>
              </a:defRPr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Name Here</a:t>
            </a:r>
          </a:p>
        </p:txBody>
      </p:sp>
      <p:sp>
        <p:nvSpPr>
          <p:cNvPr id="7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81349" y="4134651"/>
            <a:ext cx="3544411" cy="461665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>
                <a:solidFill>
                  <a:schemeClr val="tx1"/>
                </a:solidFill>
              </a:defRPr>
            </a:lvl1pPr>
            <a:lvl2pPr marL="280987" indent="0">
              <a:buNone/>
              <a:defRPr/>
            </a:lvl2pPr>
            <a:lvl3pPr marL="574675" indent="0">
              <a:buNone/>
              <a:defRPr/>
            </a:lvl3pPr>
            <a:lvl4pPr marL="855663" indent="0">
              <a:buNone/>
              <a:defRPr/>
            </a:lvl4pPr>
            <a:lvl5pPr marL="1090613" indent="0">
              <a:buNone/>
              <a:defRPr/>
            </a:lvl5pPr>
          </a:lstStyle>
          <a:p>
            <a:pPr lvl="0"/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F6F85EA-1CAA-F34C-8631-AB308554EFA3}"/>
              </a:ext>
            </a:extLst>
          </p:cNvPr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4AD3290-648D-D840-B50D-09EEC67C7D28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53000">
                <a:schemeClr val="bg1">
                  <a:alpha val="0"/>
                </a:schemeClr>
              </a:gs>
              <a:gs pos="0">
                <a:srgbClr val="53E2DD">
                  <a:alpha val="56000"/>
                  <a:lumMod val="45000"/>
                </a:srgbClr>
              </a:gs>
              <a:gs pos="100000">
                <a:schemeClr val="accent2">
                  <a:lumMod val="61000"/>
                  <a:alpha val="54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9418557-F9FB-2C49-8652-E9BC5F420543}"/>
              </a:ext>
            </a:extLst>
          </p:cNvPr>
          <p:cNvSpPr/>
          <p:nvPr userDrawn="1"/>
        </p:nvSpPr>
        <p:spPr>
          <a:xfrm>
            <a:off x="5942892" y="0"/>
            <a:ext cx="3201108" cy="5157216"/>
          </a:xfrm>
          <a:prstGeom prst="rect">
            <a:avLst/>
          </a:prstGeom>
          <a:gradFill flip="none" rotWithShape="1">
            <a:gsLst>
              <a:gs pos="71000">
                <a:schemeClr val="tx2">
                  <a:alpha val="0"/>
                </a:schemeClr>
              </a:gs>
              <a:gs pos="100000">
                <a:schemeClr val="tx2">
                  <a:alpha val="65000"/>
                </a:schemeClr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EF58E61-59AF-0B40-BD87-B8415DF5B20F}"/>
              </a:ext>
            </a:extLst>
          </p:cNvPr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bg1"/>
          </a:solidFill>
        </p:grpSpPr>
        <p:sp>
          <p:nvSpPr>
            <p:cNvPr id="43" name="Freeform 1">
              <a:extLst>
                <a:ext uri="{FF2B5EF4-FFF2-40B4-BE49-F238E27FC236}">
                  <a16:creationId xmlns:a16="http://schemas.microsoft.com/office/drawing/2014/main" id="{199E89AD-2705-134A-918E-26469FC8CD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4" name="Freeform 2">
              <a:extLst>
                <a:ext uri="{FF2B5EF4-FFF2-40B4-BE49-F238E27FC236}">
                  <a16:creationId xmlns:a16="http://schemas.microsoft.com/office/drawing/2014/main" id="{0494D0CA-794C-0E4B-AA3F-CCDBD5829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9DCC5901-D10A-FB4A-B33B-ED481418C9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6" name="Freeform 4">
              <a:extLst>
                <a:ext uri="{FF2B5EF4-FFF2-40B4-BE49-F238E27FC236}">
                  <a16:creationId xmlns:a16="http://schemas.microsoft.com/office/drawing/2014/main" id="{E89E2B8D-ACF0-2F45-AEFB-BDDCF2F74F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22029583-0D66-5343-987C-CF43A574E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853178F1-F0AF-6240-8FB2-09BC14B17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587CA836-2BC9-604B-8F93-B6FA817F99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9BEF782E-D5DE-734F-9C51-AB343EB19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0C8F20BF-80B8-AA43-8103-58006CF5B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5B65AB5A-E732-2349-89E5-B07E52492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18907CF9-1658-E045-9ADF-2C0EB38067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6582D328-B23E-7E45-9263-09C9535401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1C5D63DB-4DD9-2E40-B566-7E733EBF88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0" name="Freeform 14">
              <a:extLst>
                <a:ext uri="{FF2B5EF4-FFF2-40B4-BE49-F238E27FC236}">
                  <a16:creationId xmlns:a16="http://schemas.microsoft.com/office/drawing/2014/main" id="{6CC37E30-3AA8-3A4D-938A-A8B8E7A953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1" name="Freeform 15">
              <a:extLst>
                <a:ext uri="{FF2B5EF4-FFF2-40B4-BE49-F238E27FC236}">
                  <a16:creationId xmlns:a16="http://schemas.microsoft.com/office/drawing/2014/main" id="{15F29EA2-8A57-A243-BA94-EEAE6BD44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2" name="Freeform 16">
              <a:extLst>
                <a:ext uri="{FF2B5EF4-FFF2-40B4-BE49-F238E27FC236}">
                  <a16:creationId xmlns:a16="http://schemas.microsoft.com/office/drawing/2014/main" id="{8896A965-59FA-E943-96EE-601F7005C8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3" name="Freeform 17">
              <a:extLst>
                <a:ext uri="{FF2B5EF4-FFF2-40B4-BE49-F238E27FC236}">
                  <a16:creationId xmlns:a16="http://schemas.microsoft.com/office/drawing/2014/main" id="{00A05657-BBA5-E04D-A9B7-BB46AB4158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4" name="Freeform 18">
              <a:extLst>
                <a:ext uri="{FF2B5EF4-FFF2-40B4-BE49-F238E27FC236}">
                  <a16:creationId xmlns:a16="http://schemas.microsoft.com/office/drawing/2014/main" id="{75D59710-E8C6-394A-9E64-D4371DD868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5" name="Freeform 19">
              <a:extLst>
                <a:ext uri="{FF2B5EF4-FFF2-40B4-BE49-F238E27FC236}">
                  <a16:creationId xmlns:a16="http://schemas.microsoft.com/office/drawing/2014/main" id="{E31E38F3-CCD4-0D4A-B5AE-0E15DBF0F8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6" name="Freeform 20">
              <a:extLst>
                <a:ext uri="{FF2B5EF4-FFF2-40B4-BE49-F238E27FC236}">
                  <a16:creationId xmlns:a16="http://schemas.microsoft.com/office/drawing/2014/main" id="{EA81CA55-89FF-C642-90AD-A67CE9108A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7" name="Freeform 21">
              <a:extLst>
                <a:ext uri="{FF2B5EF4-FFF2-40B4-BE49-F238E27FC236}">
                  <a16:creationId xmlns:a16="http://schemas.microsoft.com/office/drawing/2014/main" id="{B993E30F-1BC1-EE44-BD31-C649CB700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1" name="Freeform 22">
              <a:extLst>
                <a:ext uri="{FF2B5EF4-FFF2-40B4-BE49-F238E27FC236}">
                  <a16:creationId xmlns:a16="http://schemas.microsoft.com/office/drawing/2014/main" id="{5220F4C6-9400-5942-B0AF-9C8740ABF2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2" name="Freeform 23">
              <a:extLst>
                <a:ext uri="{FF2B5EF4-FFF2-40B4-BE49-F238E27FC236}">
                  <a16:creationId xmlns:a16="http://schemas.microsoft.com/office/drawing/2014/main" id="{0D77D15C-59D2-2D40-8EFB-AE8D4D6452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AFE8C8C8-8C8F-0D45-B230-946FEDADA26C}"/>
              </a:ext>
            </a:extLst>
          </p:cNvPr>
          <p:cNvSpPr txBox="1"/>
          <p:nvPr userDrawn="1"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3D34347-5503-CF42-98BC-54772FA6C03C}"/>
              </a:ext>
            </a:extLst>
          </p:cNvPr>
          <p:cNvSpPr/>
          <p:nvPr userDrawn="1"/>
        </p:nvSpPr>
        <p:spPr>
          <a:xfrm>
            <a:off x="695091" y="4911122"/>
            <a:ext cx="542544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CONFIDENTIAL – For use by Hitachi Vantara employees and other audiences under NDA only.</a:t>
            </a:r>
          </a:p>
        </p:txBody>
      </p:sp>
      <p:pic>
        <p:nvPicPr>
          <p:cNvPr id="70" name="Graphic 69">
            <a:extLst>
              <a:ext uri="{FF2B5EF4-FFF2-40B4-BE49-F238E27FC236}">
                <a16:creationId xmlns:a16="http://schemas.microsoft.com/office/drawing/2014/main" id="{77635230-F3E7-A540-BBEE-66DC1E31C3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12" y="812800"/>
            <a:ext cx="570117" cy="433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706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CD3F4FD4-345E-5049-91DB-67FCDD2F44B9}"/>
              </a:ext>
            </a:extLst>
          </p:cNvPr>
          <p:cNvSpPr/>
          <p:nvPr userDrawn="1"/>
        </p:nvSpPr>
        <p:spPr>
          <a:xfrm>
            <a:off x="0" y="0"/>
            <a:ext cx="9153144" cy="5157216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66000">
                <a:srgbClr val="051C2C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18BC543-15C4-E34B-8324-961E435C32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3" y="0"/>
            <a:ext cx="9143998" cy="5143499"/>
          </a:xfrm>
          <a:prstGeom prst="rect">
            <a:avLst/>
          </a:prstGeom>
        </p:spPr>
      </p:pic>
      <p:sp>
        <p:nvSpPr>
          <p:cNvPr id="57" name="Title 1"/>
          <p:cNvSpPr>
            <a:spLocks noGrp="1"/>
          </p:cNvSpPr>
          <p:nvPr>
            <p:ph type="ctrTitle" hasCustomPrompt="1"/>
          </p:nvPr>
        </p:nvSpPr>
        <p:spPr>
          <a:xfrm>
            <a:off x="725952" y="1571934"/>
            <a:ext cx="6926568" cy="695773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Divider Slide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bg1"/>
          </a:solidFill>
        </p:grpSpPr>
        <p:sp>
          <p:nvSpPr>
            <p:cNvPr id="67" name="Freeform 1"/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8" name="Freeform 2"/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9" name="Freeform 3"/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0" name="Freeform 4"/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1" name="Freeform 5"/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2" name="Freeform 6"/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3" name="Freeform 7"/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4" name="Freeform 8"/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5" name="Freeform 9"/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6" name="Freeform 10"/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7" name="Freeform 11"/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8" name="Freeform 12"/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0" name="Freeform 13"/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1" name="Freeform 14"/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2" name="Freeform 15"/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3" name="Freeform 16"/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4" name="Freeform 17"/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5" name="Freeform 18"/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6" name="Freeform 19"/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7" name="Freeform 20"/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8" name="Freeform 21"/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9" name="Freeform 22"/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0" name="Freeform 23"/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35" name="TextBox 34"/>
          <p:cNvSpPr txBox="1"/>
          <p:nvPr userDrawn="1"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57801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B5380F31-F25E-914E-B4AC-C9B2E2DD44AA}"/>
              </a:ext>
            </a:extLst>
          </p:cNvPr>
          <p:cNvSpPr/>
          <p:nvPr userDrawn="1"/>
        </p:nvSpPr>
        <p:spPr>
          <a:xfrm>
            <a:off x="0" y="0"/>
            <a:ext cx="9153144" cy="5157216"/>
          </a:xfrm>
          <a:prstGeom prst="rect">
            <a:avLst/>
          </a:prstGeom>
          <a:gradFill>
            <a:gsLst>
              <a:gs pos="0">
                <a:schemeClr val="tx1">
                  <a:lumMod val="60000"/>
                  <a:lumOff val="40000"/>
                  <a:alpha val="25000"/>
                </a:schemeClr>
              </a:gs>
              <a:gs pos="98000">
                <a:schemeClr val="bg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2A906BF6-7DCE-7747-9B24-C8F153A522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3" y="0"/>
            <a:ext cx="9143998" cy="5143499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tx2"/>
          </a:solidFill>
        </p:grpSpPr>
        <p:sp>
          <p:nvSpPr>
            <p:cNvPr id="67" name="Freeform 1"/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8" name="Freeform 2"/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9" name="Freeform 3"/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0" name="Freeform 4"/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1" name="Freeform 5"/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2" name="Freeform 6"/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3" name="Freeform 7"/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4" name="Freeform 8"/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5" name="Freeform 9"/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6" name="Freeform 10"/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7" name="Freeform 11"/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8" name="Freeform 12"/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0" name="Freeform 13"/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1" name="Freeform 14"/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2" name="Freeform 15"/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3" name="Freeform 16"/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4" name="Freeform 17"/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5" name="Freeform 18"/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6" name="Freeform 19"/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7" name="Freeform 20"/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8" name="Freeform 21"/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9" name="Freeform 22"/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0" name="Freeform 23"/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32" name="Title 1">
            <a:extLst>
              <a:ext uri="{FF2B5EF4-FFF2-40B4-BE49-F238E27FC236}">
                <a16:creationId xmlns:a16="http://schemas.microsoft.com/office/drawing/2014/main" id="{D3028D0E-040E-FD43-82A3-4BE0AEE698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5952" y="1571934"/>
            <a:ext cx="6926568" cy="695773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Divider Slide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tx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61912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 59">
            <a:extLst>
              <a:ext uri="{FF2B5EF4-FFF2-40B4-BE49-F238E27FC236}">
                <a16:creationId xmlns:a16="http://schemas.microsoft.com/office/drawing/2014/main" id="{3D48F6B7-F509-9947-AB5A-B28BFD0AA113}"/>
              </a:ext>
            </a:extLst>
          </p:cNvPr>
          <p:cNvSpPr/>
          <p:nvPr userDrawn="1"/>
        </p:nvSpPr>
        <p:spPr>
          <a:xfrm>
            <a:off x="0" y="0"/>
            <a:ext cx="9153144" cy="5157216"/>
          </a:xfrm>
          <a:prstGeom prst="rect">
            <a:avLst/>
          </a:prstGeom>
          <a:gradFill>
            <a:gsLst>
              <a:gs pos="0">
                <a:schemeClr val="accent2">
                  <a:lumMod val="42000"/>
                </a:schemeClr>
              </a:gs>
              <a:gs pos="93000">
                <a:schemeClr val="accent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5BF50F9F-868D-0740-AABE-D706F668CC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3" y="1"/>
            <a:ext cx="9143998" cy="5143499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415AF317-B9FB-444E-8EFF-15B3DE5489E0}"/>
              </a:ext>
            </a:extLst>
          </p:cNvPr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/>
              </a:rPr>
              <a:pPr/>
              <a:t>‹#›</a:t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/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C791E671-E641-6148-87C8-01A72DAE4039}"/>
              </a:ext>
            </a:extLst>
          </p:cNvPr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bg1"/>
          </a:solidFill>
        </p:grpSpPr>
        <p:sp>
          <p:nvSpPr>
            <p:cNvPr id="66" name="Freeform 1">
              <a:extLst>
                <a:ext uri="{FF2B5EF4-FFF2-40B4-BE49-F238E27FC236}">
                  <a16:creationId xmlns:a16="http://schemas.microsoft.com/office/drawing/2014/main" id="{B1F57D1E-C915-9545-85F1-EB87A4715D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7" name="Freeform 2">
              <a:extLst>
                <a:ext uri="{FF2B5EF4-FFF2-40B4-BE49-F238E27FC236}">
                  <a16:creationId xmlns:a16="http://schemas.microsoft.com/office/drawing/2014/main" id="{3473832E-DBBD-5945-91EA-2E6E7BF121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8" name="Freeform 3">
              <a:extLst>
                <a:ext uri="{FF2B5EF4-FFF2-40B4-BE49-F238E27FC236}">
                  <a16:creationId xmlns:a16="http://schemas.microsoft.com/office/drawing/2014/main" id="{9F63111F-E402-434F-97AF-2720C297D0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9" name="Freeform 4">
              <a:extLst>
                <a:ext uri="{FF2B5EF4-FFF2-40B4-BE49-F238E27FC236}">
                  <a16:creationId xmlns:a16="http://schemas.microsoft.com/office/drawing/2014/main" id="{851FD346-0D83-1D4D-BE0B-B5E49D216F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0" name="Freeform 5">
              <a:extLst>
                <a:ext uri="{FF2B5EF4-FFF2-40B4-BE49-F238E27FC236}">
                  <a16:creationId xmlns:a16="http://schemas.microsoft.com/office/drawing/2014/main" id="{1B1711E4-71F2-364B-A204-964F9234C2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1" name="Freeform 6">
              <a:extLst>
                <a:ext uri="{FF2B5EF4-FFF2-40B4-BE49-F238E27FC236}">
                  <a16:creationId xmlns:a16="http://schemas.microsoft.com/office/drawing/2014/main" id="{268AA218-2BB1-C641-9792-6A4F9BE336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2" name="Freeform 7">
              <a:extLst>
                <a:ext uri="{FF2B5EF4-FFF2-40B4-BE49-F238E27FC236}">
                  <a16:creationId xmlns:a16="http://schemas.microsoft.com/office/drawing/2014/main" id="{A7052340-2C8D-2F4A-9FB8-02AB4A900D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3" name="Freeform 8">
              <a:extLst>
                <a:ext uri="{FF2B5EF4-FFF2-40B4-BE49-F238E27FC236}">
                  <a16:creationId xmlns:a16="http://schemas.microsoft.com/office/drawing/2014/main" id="{535B44C4-AC43-4342-B156-30FED27CA5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4" name="Freeform 9">
              <a:extLst>
                <a:ext uri="{FF2B5EF4-FFF2-40B4-BE49-F238E27FC236}">
                  <a16:creationId xmlns:a16="http://schemas.microsoft.com/office/drawing/2014/main" id="{EBF6795F-0FE2-A443-993E-08FC15E569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5" name="Freeform 10">
              <a:extLst>
                <a:ext uri="{FF2B5EF4-FFF2-40B4-BE49-F238E27FC236}">
                  <a16:creationId xmlns:a16="http://schemas.microsoft.com/office/drawing/2014/main" id="{C4FF7ED2-5D66-B644-A9BE-201D19A275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6" name="Freeform 11">
              <a:extLst>
                <a:ext uri="{FF2B5EF4-FFF2-40B4-BE49-F238E27FC236}">
                  <a16:creationId xmlns:a16="http://schemas.microsoft.com/office/drawing/2014/main" id="{E5445F41-D8A5-5F4E-AC2F-AB20B84745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7" name="Freeform 12">
              <a:extLst>
                <a:ext uri="{FF2B5EF4-FFF2-40B4-BE49-F238E27FC236}">
                  <a16:creationId xmlns:a16="http://schemas.microsoft.com/office/drawing/2014/main" id="{09CD85A5-3359-214F-AE80-90EC078C7D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8" name="Freeform 13">
              <a:extLst>
                <a:ext uri="{FF2B5EF4-FFF2-40B4-BE49-F238E27FC236}">
                  <a16:creationId xmlns:a16="http://schemas.microsoft.com/office/drawing/2014/main" id="{EB5D1622-3DC0-2842-BA11-B2C56D4E32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79" name="Freeform 14">
              <a:extLst>
                <a:ext uri="{FF2B5EF4-FFF2-40B4-BE49-F238E27FC236}">
                  <a16:creationId xmlns:a16="http://schemas.microsoft.com/office/drawing/2014/main" id="{77A3535A-3810-DD40-AFF4-0C8AF5C212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0" name="Freeform 15">
              <a:extLst>
                <a:ext uri="{FF2B5EF4-FFF2-40B4-BE49-F238E27FC236}">
                  <a16:creationId xmlns:a16="http://schemas.microsoft.com/office/drawing/2014/main" id="{56FCFE01-EBF4-D840-89E1-57366256DE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1" name="Freeform 16">
              <a:extLst>
                <a:ext uri="{FF2B5EF4-FFF2-40B4-BE49-F238E27FC236}">
                  <a16:creationId xmlns:a16="http://schemas.microsoft.com/office/drawing/2014/main" id="{A4320DF2-A912-824E-8068-B3562F9A5D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2" name="Freeform 17">
              <a:extLst>
                <a:ext uri="{FF2B5EF4-FFF2-40B4-BE49-F238E27FC236}">
                  <a16:creationId xmlns:a16="http://schemas.microsoft.com/office/drawing/2014/main" id="{2A9F743A-B320-E546-BB3D-FD68AA9023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3" name="Freeform 18">
              <a:extLst>
                <a:ext uri="{FF2B5EF4-FFF2-40B4-BE49-F238E27FC236}">
                  <a16:creationId xmlns:a16="http://schemas.microsoft.com/office/drawing/2014/main" id="{817C9402-F6C4-F14A-8B05-734CAF9552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4" name="Freeform 19">
              <a:extLst>
                <a:ext uri="{FF2B5EF4-FFF2-40B4-BE49-F238E27FC236}">
                  <a16:creationId xmlns:a16="http://schemas.microsoft.com/office/drawing/2014/main" id="{5CA9E9C3-FBD4-664E-8650-DDCA90312A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5" name="Freeform 20">
              <a:extLst>
                <a:ext uri="{FF2B5EF4-FFF2-40B4-BE49-F238E27FC236}">
                  <a16:creationId xmlns:a16="http://schemas.microsoft.com/office/drawing/2014/main" id="{2D12BD32-2D99-7E48-AE12-6A72C1D4AB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6" name="Freeform 21">
              <a:extLst>
                <a:ext uri="{FF2B5EF4-FFF2-40B4-BE49-F238E27FC236}">
                  <a16:creationId xmlns:a16="http://schemas.microsoft.com/office/drawing/2014/main" id="{16B82C85-3CBF-164C-B855-C83FEEE8CA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7" name="Freeform 22">
              <a:extLst>
                <a:ext uri="{FF2B5EF4-FFF2-40B4-BE49-F238E27FC236}">
                  <a16:creationId xmlns:a16="http://schemas.microsoft.com/office/drawing/2014/main" id="{FDA0A882-550D-6040-8A08-9B5B96299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88" name="Freeform 23">
              <a:extLst>
                <a:ext uri="{FF2B5EF4-FFF2-40B4-BE49-F238E27FC236}">
                  <a16:creationId xmlns:a16="http://schemas.microsoft.com/office/drawing/2014/main" id="{03561F3B-D659-D44B-988A-6DD515517C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  <p:sp>
        <p:nvSpPr>
          <p:cNvPr id="89" name="TextBox 88">
            <a:extLst>
              <a:ext uri="{FF2B5EF4-FFF2-40B4-BE49-F238E27FC236}">
                <a16:creationId xmlns:a16="http://schemas.microsoft.com/office/drawing/2014/main" id="{0608A57A-1441-E64B-A2D0-ABCD90D33359}"/>
              </a:ext>
            </a:extLst>
          </p:cNvPr>
          <p:cNvSpPr txBox="1"/>
          <p:nvPr userDrawn="1"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bg1">
                    <a:alpha val="5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A7FD0AE6-291C-C840-A0ED-2C91663A90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5952" y="1571934"/>
            <a:ext cx="6926568" cy="695773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4400" b="1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extLst>
      <p:ext uri="{BB962C8B-B14F-4D97-AF65-F5344CB8AC3E}">
        <p14:creationId xmlns:p14="http://schemas.microsoft.com/office/powerpoint/2010/main" val="3973250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70740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3"/>
          <p:cNvSpPr>
            <a:spLocks noGrp="1"/>
          </p:cNvSpPr>
          <p:nvPr>
            <p:ph idx="1" hasCustomPrompt="1"/>
          </p:nvPr>
        </p:nvSpPr>
        <p:spPr>
          <a:xfrm>
            <a:off x="264160" y="885801"/>
            <a:ext cx="8584006" cy="177587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5pPr>
              <a:defRPr sz="12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68113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Confidenti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3"/>
          <p:cNvSpPr>
            <a:spLocks noGrp="1"/>
          </p:cNvSpPr>
          <p:nvPr>
            <p:ph idx="1" hasCustomPrompt="1"/>
          </p:nvPr>
        </p:nvSpPr>
        <p:spPr>
          <a:xfrm>
            <a:off x="264160" y="893235"/>
            <a:ext cx="8584006" cy="177587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5pPr>
              <a:defRPr sz="12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5" name="Rectangle 4"/>
          <p:cNvSpPr/>
          <p:nvPr/>
        </p:nvSpPr>
        <p:spPr>
          <a:xfrm>
            <a:off x="264160" y="4911122"/>
            <a:ext cx="542544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CONFIDENTIAL – For use by Hitachi Vantara employees and other audiences under NDA only.</a:t>
            </a:r>
          </a:p>
        </p:txBody>
      </p:sp>
    </p:spTree>
    <p:extLst>
      <p:ext uri="{BB962C8B-B14F-4D97-AF65-F5344CB8AC3E}">
        <p14:creationId xmlns:p14="http://schemas.microsoft.com/office/powerpoint/2010/main" val="3613655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グループ化 59"/>
          <p:cNvGrpSpPr/>
          <p:nvPr/>
        </p:nvGrpSpPr>
        <p:grpSpPr>
          <a:xfrm>
            <a:off x="-4" y="818837"/>
            <a:ext cx="9145616" cy="57656"/>
            <a:chOff x="-4" y="739775"/>
            <a:chExt cx="9145616" cy="76874"/>
          </a:xfrm>
        </p:grpSpPr>
        <p:sp>
          <p:nvSpPr>
            <p:cNvPr id="44" name="正方形/長方形 11"/>
            <p:cNvSpPr>
              <a:spLocks noChangeArrowheads="1"/>
            </p:cNvSpPr>
            <p:nvPr/>
          </p:nvSpPr>
          <p:spPr bwMode="auto">
            <a:xfrm>
              <a:off x="1481331" y="739775"/>
              <a:ext cx="7664281" cy="76874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ja-JP" altLang="en-US"/>
            </a:p>
          </p:txBody>
        </p:sp>
        <p:grpSp>
          <p:nvGrpSpPr>
            <p:cNvPr id="60" name="グループ化 62"/>
            <p:cNvGrpSpPr/>
            <p:nvPr/>
          </p:nvGrpSpPr>
          <p:grpSpPr>
            <a:xfrm>
              <a:off x="-4" y="740968"/>
              <a:ext cx="1481335" cy="74492"/>
              <a:chOff x="312738" y="2749710"/>
              <a:chExt cx="1970086" cy="109547"/>
            </a:xfrm>
          </p:grpSpPr>
          <p:sp>
            <p:nvSpPr>
              <p:cNvPr id="61" name="正方形/長方形 62"/>
              <p:cNvSpPr/>
              <p:nvPr/>
            </p:nvSpPr>
            <p:spPr bwMode="auto">
              <a:xfrm>
                <a:off x="1298574" y="2749710"/>
                <a:ext cx="984250" cy="109537"/>
              </a:xfrm>
              <a:prstGeom prst="rect">
                <a:avLst/>
              </a:prstGeom>
              <a:solidFill>
                <a:srgbClr val="CC00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ja-JP" altLang="en-US" sz="18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2" name="正方形/長方形 63"/>
              <p:cNvSpPr/>
              <p:nvPr/>
            </p:nvSpPr>
            <p:spPr bwMode="auto">
              <a:xfrm>
                <a:off x="312738" y="2749720"/>
                <a:ext cx="985838" cy="109537"/>
              </a:xfrm>
              <a:prstGeom prst="rect">
                <a:avLst/>
              </a:prstGeom>
              <a:solidFill>
                <a:srgbClr val="B3B3B3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ja-JP" altLang="en-US" sz="1800" kern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37" name="TextBox 36"/>
          <p:cNvSpPr txBox="1"/>
          <p:nvPr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111F478C-84AE-4601-9BE4-60468A3A6C06}" type="slidenum">
              <a:rPr lang="en-US" sz="800" smtClean="0">
                <a:solidFill>
                  <a:schemeClr val="tx1">
                    <a:alpha val="50000"/>
                  </a:schemeClr>
                </a:solidFill>
                <a:latin typeface="+mj-lt"/>
              </a:rPr>
              <a:pPr algn="l"/>
              <a:t>‹#›</a:t>
            </a:fld>
            <a:endParaRPr lang="en-US" sz="800" dirty="0">
              <a:solidFill>
                <a:schemeClr val="tx1">
                  <a:alpha val="50000"/>
                </a:schemeClr>
              </a:solidFill>
              <a:latin typeface="+mj-lt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solidFill>
                  <a:schemeClr val="tx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rPr>
              <a:t>© Hitachi Vantara LLC 2020. All Rights Reserved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E3120D6-2EB7-784D-9A43-8B08507CE207}"/>
              </a:ext>
            </a:extLst>
          </p:cNvPr>
          <p:cNvSpPr/>
          <p:nvPr/>
        </p:nvSpPr>
        <p:spPr>
          <a:xfrm>
            <a:off x="0" y="793050"/>
            <a:ext cx="9144004" cy="1689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13" name="Text Placeholder 53"/>
          <p:cNvSpPr>
            <a:spLocks noGrp="1"/>
          </p:cNvSpPr>
          <p:nvPr>
            <p:ph type="body" idx="1"/>
          </p:nvPr>
        </p:nvSpPr>
        <p:spPr>
          <a:xfrm>
            <a:off x="264160" y="893235"/>
            <a:ext cx="8584006" cy="143936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1FC9FE6-7211-2D4D-BBC5-2CA2AED63B97}"/>
              </a:ext>
            </a:extLst>
          </p:cNvPr>
          <p:cNvGrpSpPr/>
          <p:nvPr userDrawn="1"/>
        </p:nvGrpSpPr>
        <p:grpSpPr>
          <a:xfrm>
            <a:off x="7684916" y="225821"/>
            <a:ext cx="1247901" cy="356665"/>
            <a:chOff x="2751138" y="3262313"/>
            <a:chExt cx="4665662" cy="1333500"/>
          </a:xfrm>
          <a:solidFill>
            <a:schemeClr val="tx2"/>
          </a:solidFill>
        </p:grpSpPr>
        <p:sp>
          <p:nvSpPr>
            <p:cNvPr id="40" name="Freeform 1">
              <a:extLst>
                <a:ext uri="{FF2B5EF4-FFF2-40B4-BE49-F238E27FC236}">
                  <a16:creationId xmlns:a16="http://schemas.microsoft.com/office/drawing/2014/main" id="{2202F2C4-E626-9C44-8BD5-A0A142984A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1" name="Freeform 2">
              <a:extLst>
                <a:ext uri="{FF2B5EF4-FFF2-40B4-BE49-F238E27FC236}">
                  <a16:creationId xmlns:a16="http://schemas.microsoft.com/office/drawing/2014/main" id="{48E235B8-0EFE-1D4E-B536-D584422BD2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2" name="Freeform 3">
              <a:extLst>
                <a:ext uri="{FF2B5EF4-FFF2-40B4-BE49-F238E27FC236}">
                  <a16:creationId xmlns:a16="http://schemas.microsoft.com/office/drawing/2014/main" id="{59CBC9C9-352E-C44D-898B-B56EA1F51B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5" name="Freeform 4">
              <a:extLst>
                <a:ext uri="{FF2B5EF4-FFF2-40B4-BE49-F238E27FC236}">
                  <a16:creationId xmlns:a16="http://schemas.microsoft.com/office/drawing/2014/main" id="{489722E2-4F5C-474B-BE14-489471BD06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6" name="Freeform 5">
              <a:extLst>
                <a:ext uri="{FF2B5EF4-FFF2-40B4-BE49-F238E27FC236}">
                  <a16:creationId xmlns:a16="http://schemas.microsoft.com/office/drawing/2014/main" id="{AAA478F0-93B4-D947-BED8-D23BF131CB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7" name="Freeform 6">
              <a:extLst>
                <a:ext uri="{FF2B5EF4-FFF2-40B4-BE49-F238E27FC236}">
                  <a16:creationId xmlns:a16="http://schemas.microsoft.com/office/drawing/2014/main" id="{A57E6D6C-A5DC-FD42-8986-EE47E59952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8" name="Freeform 7">
              <a:extLst>
                <a:ext uri="{FF2B5EF4-FFF2-40B4-BE49-F238E27FC236}">
                  <a16:creationId xmlns:a16="http://schemas.microsoft.com/office/drawing/2014/main" id="{AE32BA5C-C3A9-184E-AFD3-4E15B09FF3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9" name="Freeform 8">
              <a:extLst>
                <a:ext uri="{FF2B5EF4-FFF2-40B4-BE49-F238E27FC236}">
                  <a16:creationId xmlns:a16="http://schemas.microsoft.com/office/drawing/2014/main" id="{8A0DB868-FC5A-BD44-9EA8-45E6496045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0" name="Freeform 9">
              <a:extLst>
                <a:ext uri="{FF2B5EF4-FFF2-40B4-BE49-F238E27FC236}">
                  <a16:creationId xmlns:a16="http://schemas.microsoft.com/office/drawing/2014/main" id="{BFCB2AFF-A2AD-624A-8B85-9A1C9FB5DA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1" name="Freeform 10">
              <a:extLst>
                <a:ext uri="{FF2B5EF4-FFF2-40B4-BE49-F238E27FC236}">
                  <a16:creationId xmlns:a16="http://schemas.microsoft.com/office/drawing/2014/main" id="{01095FC3-BDC5-A549-A563-41D39503D1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2" name="Freeform 11">
              <a:extLst>
                <a:ext uri="{FF2B5EF4-FFF2-40B4-BE49-F238E27FC236}">
                  <a16:creationId xmlns:a16="http://schemas.microsoft.com/office/drawing/2014/main" id="{67332802-95F1-BD4E-A57B-E2DBDF38E3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3" name="Freeform 12">
              <a:extLst>
                <a:ext uri="{FF2B5EF4-FFF2-40B4-BE49-F238E27FC236}">
                  <a16:creationId xmlns:a16="http://schemas.microsoft.com/office/drawing/2014/main" id="{1620EBC1-91A3-0747-8FF2-60CECD8980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4" name="Freeform 13">
              <a:extLst>
                <a:ext uri="{FF2B5EF4-FFF2-40B4-BE49-F238E27FC236}">
                  <a16:creationId xmlns:a16="http://schemas.microsoft.com/office/drawing/2014/main" id="{9AE043B0-CB1B-9E46-BB0B-62488F1C01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5" name="Freeform 14">
              <a:extLst>
                <a:ext uri="{FF2B5EF4-FFF2-40B4-BE49-F238E27FC236}">
                  <a16:creationId xmlns:a16="http://schemas.microsoft.com/office/drawing/2014/main" id="{BC547CDB-3E2C-4B44-A4C8-090E4FE2F8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6" name="Freeform 15">
              <a:extLst>
                <a:ext uri="{FF2B5EF4-FFF2-40B4-BE49-F238E27FC236}">
                  <a16:creationId xmlns:a16="http://schemas.microsoft.com/office/drawing/2014/main" id="{75E6D7FF-FE3E-1940-9EDE-F48BB8E267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722805C6-4484-1C44-87E2-ECE83F45E6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C77A8482-89B5-A34E-AA34-7608500CD9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9" name="Freeform 18">
              <a:extLst>
                <a:ext uri="{FF2B5EF4-FFF2-40B4-BE49-F238E27FC236}">
                  <a16:creationId xmlns:a16="http://schemas.microsoft.com/office/drawing/2014/main" id="{A5C8F1E5-0B3B-3D41-AA0C-BEDAF6EAB7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3" name="Freeform 19">
              <a:extLst>
                <a:ext uri="{FF2B5EF4-FFF2-40B4-BE49-F238E27FC236}">
                  <a16:creationId xmlns:a16="http://schemas.microsoft.com/office/drawing/2014/main" id="{384F3AF3-9A9D-6749-BA1F-3C4CDBAF59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4" name="Freeform 20">
              <a:extLst>
                <a:ext uri="{FF2B5EF4-FFF2-40B4-BE49-F238E27FC236}">
                  <a16:creationId xmlns:a16="http://schemas.microsoft.com/office/drawing/2014/main" id="{F99D0FF1-431B-6C43-A98F-D450EE81DD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5" name="Freeform 21">
              <a:extLst>
                <a:ext uri="{FF2B5EF4-FFF2-40B4-BE49-F238E27FC236}">
                  <a16:creationId xmlns:a16="http://schemas.microsoft.com/office/drawing/2014/main" id="{DFFDE76A-9014-3145-B23E-7C62166035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6" name="Freeform 22">
              <a:extLst>
                <a:ext uri="{FF2B5EF4-FFF2-40B4-BE49-F238E27FC236}">
                  <a16:creationId xmlns:a16="http://schemas.microsoft.com/office/drawing/2014/main" id="{87DC48FF-3F70-F940-9EB2-8196B0F9E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7" name="Freeform 23">
              <a:extLst>
                <a:ext uri="{FF2B5EF4-FFF2-40B4-BE49-F238E27FC236}">
                  <a16:creationId xmlns:a16="http://schemas.microsoft.com/office/drawing/2014/main" id="{D419EB28-F506-EA4B-9DF6-C19B407104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414141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15907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61" r:id="rId2"/>
    <p:sldLayoutId id="2147483869" r:id="rId3"/>
    <p:sldLayoutId id="2147483839" r:id="rId4"/>
    <p:sldLayoutId id="2147483840" r:id="rId5"/>
    <p:sldLayoutId id="2147483844" r:id="rId6"/>
    <p:sldLayoutId id="2147483833" r:id="rId7"/>
    <p:sldLayoutId id="2147483863" r:id="rId8"/>
    <p:sldLayoutId id="2147483864" r:id="rId9"/>
    <p:sldLayoutId id="2147483865" r:id="rId10"/>
    <p:sldLayoutId id="2147483871" r:id="rId11"/>
    <p:sldLayoutId id="2147483875" r:id="rId12"/>
    <p:sldLayoutId id="2147483876" r:id="rId13"/>
    <p:sldLayoutId id="2147483867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lang="en-US" sz="2400" b="1" kern="1200" cap="none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0988" indent="-280988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93688" algn="l" defTabSz="914400" rtl="0" eaLnBrk="1" latinLnBrk="0" hangingPunct="1">
        <a:lnSpc>
          <a:spcPct val="95000"/>
        </a:lnSpc>
        <a:spcBef>
          <a:spcPct val="20000"/>
        </a:spcBef>
        <a:spcAft>
          <a:spcPts val="800"/>
        </a:spcAft>
        <a:buFontTx/>
        <a:buChar char="‒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55663" indent="-280988" algn="l" defTabSz="914400" rtl="0" eaLnBrk="1" latinLnBrk="0" hangingPunct="1">
        <a:lnSpc>
          <a:spcPct val="95000"/>
        </a:lnSpc>
        <a:spcBef>
          <a:spcPts val="0"/>
        </a:spcBef>
        <a:spcAft>
          <a:spcPts val="800"/>
        </a:spcAft>
        <a:buFontTx/>
        <a:buChar char="‒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90613" indent="-234950" algn="l" defTabSz="914400" rtl="0" eaLnBrk="1" latinLnBrk="0" hangingPunct="1">
        <a:lnSpc>
          <a:spcPct val="95000"/>
        </a:lnSpc>
        <a:spcBef>
          <a:spcPts val="0"/>
        </a:spcBef>
        <a:spcAft>
          <a:spcPts val="800"/>
        </a:spcAft>
        <a:buFontTx/>
        <a:buChar char="‒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2863" indent="-222250" algn="l" defTabSz="914400" rtl="0" eaLnBrk="1" latinLnBrk="0" hangingPunct="1">
        <a:lnSpc>
          <a:spcPct val="95000"/>
        </a:lnSpc>
        <a:spcBef>
          <a:spcPts val="0"/>
        </a:spcBef>
        <a:spcAft>
          <a:spcPts val="800"/>
        </a:spcAft>
        <a:buFontTx/>
        <a:buChar char="‒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ds.com/brand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4" Type="http://schemas.openxmlformats.org/officeDocument/2006/relationships/hyperlink" Target="mailto:marcom@hds.com?subject=Question%20About%20PowerPoint%20Assets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Relationship Id="rId4" Type="http://schemas.openxmlformats.org/officeDocument/2006/relationships/hyperlink" Target="http://www.hds.com/brand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ds.com/brand" TargetMode="External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ds.com/brand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ubtitle 24pt Arial</a:t>
            </a:r>
          </a:p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CoreData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&amp; MVVM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Nhan</a:t>
            </a:r>
            <a:r>
              <a:rPr lang="en-US" dirty="0"/>
              <a:t> Phan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MB</a:t>
            </a:r>
            <a:br>
              <a:rPr lang="en-US" dirty="0"/>
            </a:br>
            <a:r>
              <a:rPr lang="en-US" dirty="0"/>
              <a:t>Nov,2022</a:t>
            </a:r>
          </a:p>
        </p:txBody>
      </p:sp>
    </p:spTree>
    <p:extLst>
      <p:ext uri="{BB962C8B-B14F-4D97-AF65-F5344CB8AC3E}">
        <p14:creationId xmlns:p14="http://schemas.microsoft.com/office/powerpoint/2010/main" val="1372723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3606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ed Graphic Style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7742A01-D5DB-3046-9673-6F1981E009CA}"/>
              </a:ext>
            </a:extLst>
          </p:cNvPr>
          <p:cNvSpPr/>
          <p:nvPr/>
        </p:nvSpPr>
        <p:spPr>
          <a:xfrm>
            <a:off x="1411094" y="3091388"/>
            <a:ext cx="867603" cy="43380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3DC4ADB-7B74-EA4E-96D9-FEF05F5721B1}"/>
              </a:ext>
            </a:extLst>
          </p:cNvPr>
          <p:cNvSpPr txBox="1"/>
          <p:nvPr/>
        </p:nvSpPr>
        <p:spPr>
          <a:xfrm>
            <a:off x="264160" y="868624"/>
            <a:ext cx="3355339" cy="5232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1400" b="1" dirty="0">
                <a:latin typeface="+mj-lt"/>
              </a:rPr>
              <a:t>THEME COLORS 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AND GRADIENT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8CB198D-EB4E-3F43-B338-3D21028D6DAB}"/>
              </a:ext>
            </a:extLst>
          </p:cNvPr>
          <p:cNvSpPr/>
          <p:nvPr/>
        </p:nvSpPr>
        <p:spPr>
          <a:xfrm>
            <a:off x="487854" y="3094429"/>
            <a:ext cx="867603" cy="43380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235D812-3D3A-464A-9C2F-8AB00FD9A93D}"/>
              </a:ext>
            </a:extLst>
          </p:cNvPr>
          <p:cNvSpPr/>
          <p:nvPr/>
        </p:nvSpPr>
        <p:spPr>
          <a:xfrm>
            <a:off x="489258" y="2307661"/>
            <a:ext cx="1145343" cy="43501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9349B59-99B5-FE44-B588-BB29802BE4E6}"/>
              </a:ext>
            </a:extLst>
          </p:cNvPr>
          <p:cNvSpPr/>
          <p:nvPr/>
        </p:nvSpPr>
        <p:spPr>
          <a:xfrm>
            <a:off x="1411094" y="4128173"/>
            <a:ext cx="867603" cy="43380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BB94FF2-F746-7546-98B7-A913045DF496}"/>
              </a:ext>
            </a:extLst>
          </p:cNvPr>
          <p:cNvSpPr/>
          <p:nvPr/>
        </p:nvSpPr>
        <p:spPr>
          <a:xfrm>
            <a:off x="487854" y="3611301"/>
            <a:ext cx="867603" cy="433802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42C4268-391D-E444-9DD6-308C37BC772F}"/>
              </a:ext>
            </a:extLst>
          </p:cNvPr>
          <p:cNvSpPr/>
          <p:nvPr userDrawn="1"/>
        </p:nvSpPr>
        <p:spPr>
          <a:xfrm>
            <a:off x="487854" y="4128173"/>
            <a:ext cx="867603" cy="43380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A7DBA0E-16DE-3E42-AD88-903F6ED190E7}"/>
              </a:ext>
            </a:extLst>
          </p:cNvPr>
          <p:cNvSpPr/>
          <p:nvPr userDrawn="1"/>
        </p:nvSpPr>
        <p:spPr>
          <a:xfrm>
            <a:off x="1411094" y="3611301"/>
            <a:ext cx="867603" cy="43380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40AD27C1-1E9D-6941-BFB5-042592993357}"/>
              </a:ext>
            </a:extLst>
          </p:cNvPr>
          <p:cNvSpPr txBox="1"/>
          <p:nvPr/>
        </p:nvSpPr>
        <p:spPr>
          <a:xfrm>
            <a:off x="387349" y="1451593"/>
            <a:ext cx="3618913" cy="81560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400"/>
              </a:spcAft>
            </a:pPr>
            <a:r>
              <a:rPr lang="en-US" sz="1050" b="1" dirty="0">
                <a:latin typeface="+mj-lt"/>
              </a:rPr>
              <a:t>Introducing deep blue! </a:t>
            </a:r>
          </a:p>
          <a:p>
            <a:pPr>
              <a:spcAft>
                <a:spcPts val="600"/>
              </a:spcAft>
            </a:pPr>
            <a:r>
              <a:rPr lang="en-US" sz="1050" dirty="0">
                <a:latin typeface="+mj-lt"/>
              </a:rPr>
              <a:t>Although it is very dark and may appear almost black, it adds great depth when used in large areas and backgrounds, as shown in the title and divider slides.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D6BD5EE3-5004-4548-84E9-E44A3D996BE5}"/>
              </a:ext>
            </a:extLst>
          </p:cNvPr>
          <p:cNvSpPr/>
          <p:nvPr/>
        </p:nvSpPr>
        <p:spPr>
          <a:xfrm>
            <a:off x="1929236" y="2307661"/>
            <a:ext cx="2077026" cy="435018"/>
          </a:xfrm>
          <a:prstGeom prst="rect">
            <a:avLst/>
          </a:prstGeom>
          <a:gradFill>
            <a:gsLst>
              <a:gs pos="36000">
                <a:schemeClr val="accent3"/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E5BAE0BC-2F3F-FF4E-AAB7-E7FA0BADC1C1}"/>
              </a:ext>
            </a:extLst>
          </p:cNvPr>
          <p:cNvSpPr/>
          <p:nvPr/>
        </p:nvSpPr>
        <p:spPr>
          <a:xfrm>
            <a:off x="2432904" y="3091388"/>
            <a:ext cx="1573358" cy="433802"/>
          </a:xfrm>
          <a:prstGeom prst="rect">
            <a:avLst/>
          </a:prstGeom>
          <a:gradFill>
            <a:gsLst>
              <a:gs pos="1700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0FB89E0-D899-EB42-8052-2C4C49A74340}"/>
              </a:ext>
            </a:extLst>
          </p:cNvPr>
          <p:cNvSpPr/>
          <p:nvPr/>
        </p:nvSpPr>
        <p:spPr>
          <a:xfrm>
            <a:off x="2432904" y="3611301"/>
            <a:ext cx="1573358" cy="433802"/>
          </a:xfrm>
          <a:prstGeom prst="rect">
            <a:avLst/>
          </a:prstGeom>
          <a:gradFill>
            <a:gsLst>
              <a:gs pos="17000">
                <a:schemeClr val="bg2"/>
              </a:gs>
              <a:gs pos="100000">
                <a:schemeClr val="bg1"/>
              </a:gs>
            </a:gsLst>
            <a:lin ang="0" scaled="1"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524187-8EA9-0B49-9C51-BDC519CAF68F}"/>
              </a:ext>
            </a:extLst>
          </p:cNvPr>
          <p:cNvSpPr/>
          <p:nvPr/>
        </p:nvSpPr>
        <p:spPr>
          <a:xfrm>
            <a:off x="357031" y="1398130"/>
            <a:ext cx="3770470" cy="1484249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B2A00292-7F73-8147-BA2C-E55F9BCAF26D}"/>
              </a:ext>
            </a:extLst>
          </p:cNvPr>
          <p:cNvSpPr txBox="1"/>
          <p:nvPr/>
        </p:nvSpPr>
        <p:spPr>
          <a:xfrm>
            <a:off x="4820725" y="874910"/>
            <a:ext cx="2656840" cy="5232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1400" b="1" dirty="0">
                <a:latin typeface="+mj-lt"/>
              </a:rPr>
              <a:t>HIGHLIGHT COLOR USAGE AND GRAPHIC ELEMENTS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372DC4B-42BB-7C45-AA89-029CBD4B4BFB}"/>
              </a:ext>
            </a:extLst>
          </p:cNvPr>
          <p:cNvSpPr/>
          <p:nvPr/>
        </p:nvSpPr>
        <p:spPr>
          <a:xfrm>
            <a:off x="5045822" y="2307661"/>
            <a:ext cx="1145343" cy="43501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93FA453-F71A-C84C-B00F-63349E279BDE}"/>
              </a:ext>
            </a:extLst>
          </p:cNvPr>
          <p:cNvSpPr txBox="1"/>
          <p:nvPr/>
        </p:nvSpPr>
        <p:spPr>
          <a:xfrm>
            <a:off x="4943913" y="1451593"/>
            <a:ext cx="3833023" cy="7899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400"/>
              </a:spcAft>
            </a:pPr>
            <a:r>
              <a:rPr lang="en-US" sz="1050" b="1" dirty="0">
                <a:latin typeface="+mj-lt"/>
              </a:rPr>
              <a:t>Less is more.</a:t>
            </a:r>
          </a:p>
          <a:p>
            <a:pPr>
              <a:spcAft>
                <a:spcPts val="600"/>
              </a:spcAft>
            </a:pPr>
            <a:r>
              <a:rPr lang="en-US" sz="1050" dirty="0">
                <a:latin typeface="+mj-lt"/>
              </a:rPr>
              <a:t>There are 3 new colors to highlight important elements or to add additional colors to charts and graphs. These aren’t meant to be used as background colors or for large areas.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F3F6D82B-32D3-8442-9F8A-805E19CA6539}"/>
              </a:ext>
            </a:extLst>
          </p:cNvPr>
          <p:cNvSpPr/>
          <p:nvPr/>
        </p:nvSpPr>
        <p:spPr>
          <a:xfrm>
            <a:off x="4913594" y="1398130"/>
            <a:ext cx="3880035" cy="1484249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87245E3-7138-344F-85F4-CC8FC195ECE3}"/>
              </a:ext>
            </a:extLst>
          </p:cNvPr>
          <p:cNvSpPr/>
          <p:nvPr/>
        </p:nvSpPr>
        <p:spPr>
          <a:xfrm>
            <a:off x="6284399" y="2307661"/>
            <a:ext cx="1145343" cy="43501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7A2F1D17-3621-3A4A-A439-757BD9BD0DE8}"/>
              </a:ext>
            </a:extLst>
          </p:cNvPr>
          <p:cNvSpPr/>
          <p:nvPr/>
        </p:nvSpPr>
        <p:spPr>
          <a:xfrm>
            <a:off x="7522975" y="2307661"/>
            <a:ext cx="1145343" cy="43501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ED036F96-0D34-384E-A67E-0CF06F79E10F}"/>
              </a:ext>
            </a:extLst>
          </p:cNvPr>
          <p:cNvSpPr txBox="1"/>
          <p:nvPr/>
        </p:nvSpPr>
        <p:spPr>
          <a:xfrm>
            <a:off x="4943913" y="3020727"/>
            <a:ext cx="3833023" cy="25391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400"/>
              </a:spcAft>
            </a:pPr>
            <a:r>
              <a:rPr lang="en-US" sz="1050" b="1" dirty="0">
                <a:solidFill>
                  <a:schemeClr val="accent3"/>
                </a:solidFill>
                <a:latin typeface="+mj-lt"/>
              </a:rPr>
              <a:t>Arrows and lines</a:t>
            </a:r>
            <a:endParaRPr lang="en-US" sz="1050" dirty="0">
              <a:latin typeface="+mj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81D687C-287F-AC4F-ACB8-8462841BBA3C}"/>
              </a:ext>
            </a:extLst>
          </p:cNvPr>
          <p:cNvGrpSpPr/>
          <p:nvPr/>
        </p:nvGrpSpPr>
        <p:grpSpPr>
          <a:xfrm>
            <a:off x="5034640" y="3391531"/>
            <a:ext cx="1074173" cy="1111589"/>
            <a:chOff x="5067608" y="3368919"/>
            <a:chExt cx="768042" cy="794795"/>
          </a:xfrm>
        </p:grpSpPr>
        <p:sp>
          <p:nvSpPr>
            <p:cNvPr id="82" name="Right Arrow 81">
              <a:extLst>
                <a:ext uri="{FF2B5EF4-FFF2-40B4-BE49-F238E27FC236}">
                  <a16:creationId xmlns:a16="http://schemas.microsoft.com/office/drawing/2014/main" id="{8DD01350-9973-024F-AB8A-1818DC80D3BE}"/>
                </a:ext>
              </a:extLst>
            </p:cNvPr>
            <p:cNvSpPr/>
            <p:nvPr/>
          </p:nvSpPr>
          <p:spPr>
            <a:xfrm rot="10800000" flipH="1" flipV="1">
              <a:off x="5067608" y="3368919"/>
              <a:ext cx="310842" cy="197391"/>
            </a:xfrm>
            <a:prstGeom prst="rightArrow">
              <a:avLst>
                <a:gd name="adj1" fmla="val 50000"/>
                <a:gd name="adj2" fmla="val 86066"/>
              </a:avLst>
            </a:prstGeom>
            <a:solidFill>
              <a:schemeClr val="accent2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3" name="Right Arrow 82">
              <a:extLst>
                <a:ext uri="{FF2B5EF4-FFF2-40B4-BE49-F238E27FC236}">
                  <a16:creationId xmlns:a16="http://schemas.microsoft.com/office/drawing/2014/main" id="{FB12F0DB-E9C9-D34B-A12C-BC8DCC650353}"/>
                </a:ext>
              </a:extLst>
            </p:cNvPr>
            <p:cNvSpPr/>
            <p:nvPr/>
          </p:nvSpPr>
          <p:spPr>
            <a:xfrm rot="10800000" flipH="1" flipV="1">
              <a:off x="5067608" y="3667621"/>
              <a:ext cx="310842" cy="197391"/>
            </a:xfrm>
            <a:prstGeom prst="rightArrow">
              <a:avLst>
                <a:gd name="adj1" fmla="val 50000"/>
                <a:gd name="adj2" fmla="val 86066"/>
              </a:avLst>
            </a:prstGeom>
            <a:solidFill>
              <a:schemeClr val="accent3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4" name="Right Arrow 83">
              <a:extLst>
                <a:ext uri="{FF2B5EF4-FFF2-40B4-BE49-F238E27FC236}">
                  <a16:creationId xmlns:a16="http://schemas.microsoft.com/office/drawing/2014/main" id="{8AC811F6-9E7C-B249-839F-99399253ADB6}"/>
                </a:ext>
              </a:extLst>
            </p:cNvPr>
            <p:cNvSpPr/>
            <p:nvPr/>
          </p:nvSpPr>
          <p:spPr>
            <a:xfrm rot="10800000" flipH="1" flipV="1">
              <a:off x="5067608" y="3966323"/>
              <a:ext cx="310842" cy="197391"/>
            </a:xfrm>
            <a:prstGeom prst="rightArrow">
              <a:avLst>
                <a:gd name="adj1" fmla="val 50000"/>
                <a:gd name="adj2" fmla="val 86066"/>
              </a:avLst>
            </a:prstGeom>
            <a:solidFill>
              <a:schemeClr val="tx1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7" name="Right Arrow 86">
              <a:extLst>
                <a:ext uri="{FF2B5EF4-FFF2-40B4-BE49-F238E27FC236}">
                  <a16:creationId xmlns:a16="http://schemas.microsoft.com/office/drawing/2014/main" id="{1E70324B-2734-4349-ADEB-71E2282A27DE}"/>
                </a:ext>
              </a:extLst>
            </p:cNvPr>
            <p:cNvSpPr/>
            <p:nvPr/>
          </p:nvSpPr>
          <p:spPr>
            <a:xfrm rot="10800000" flipH="1" flipV="1">
              <a:off x="5524808" y="3368919"/>
              <a:ext cx="310842" cy="197391"/>
            </a:xfrm>
            <a:prstGeom prst="rightArrow">
              <a:avLst>
                <a:gd name="adj1" fmla="val 50000"/>
                <a:gd name="adj2" fmla="val 86066"/>
              </a:avLst>
            </a:prstGeom>
            <a:solidFill>
              <a:schemeClr val="accent4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9" name="Right Arrow 88">
              <a:extLst>
                <a:ext uri="{FF2B5EF4-FFF2-40B4-BE49-F238E27FC236}">
                  <a16:creationId xmlns:a16="http://schemas.microsoft.com/office/drawing/2014/main" id="{E1FD0483-71B7-6242-87AC-BB5BB4E4D28F}"/>
                </a:ext>
              </a:extLst>
            </p:cNvPr>
            <p:cNvSpPr/>
            <p:nvPr/>
          </p:nvSpPr>
          <p:spPr>
            <a:xfrm rot="10800000" flipH="1" flipV="1">
              <a:off x="5524808" y="3667621"/>
              <a:ext cx="310842" cy="197391"/>
            </a:xfrm>
            <a:prstGeom prst="rightArrow">
              <a:avLst>
                <a:gd name="adj1" fmla="val 50000"/>
                <a:gd name="adj2" fmla="val 86066"/>
              </a:avLst>
            </a:prstGeom>
            <a:solidFill>
              <a:schemeClr val="accent5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" name="Right Arrow 95">
              <a:extLst>
                <a:ext uri="{FF2B5EF4-FFF2-40B4-BE49-F238E27FC236}">
                  <a16:creationId xmlns:a16="http://schemas.microsoft.com/office/drawing/2014/main" id="{6873E535-1C9D-CC49-8430-BB870275E3CC}"/>
                </a:ext>
              </a:extLst>
            </p:cNvPr>
            <p:cNvSpPr/>
            <p:nvPr/>
          </p:nvSpPr>
          <p:spPr>
            <a:xfrm rot="10800000" flipH="1" flipV="1">
              <a:off x="5524808" y="3966323"/>
              <a:ext cx="310842" cy="197391"/>
            </a:xfrm>
            <a:prstGeom prst="rightArrow">
              <a:avLst>
                <a:gd name="adj1" fmla="val 50000"/>
                <a:gd name="adj2" fmla="val 86066"/>
              </a:avLst>
            </a:prstGeom>
            <a:solidFill>
              <a:schemeClr val="accent6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AC31C443-A3D9-E640-99C5-67F35198E2AD}"/>
              </a:ext>
            </a:extLst>
          </p:cNvPr>
          <p:cNvGrpSpPr/>
          <p:nvPr/>
        </p:nvGrpSpPr>
        <p:grpSpPr>
          <a:xfrm>
            <a:off x="6681668" y="3401589"/>
            <a:ext cx="1101486" cy="1085799"/>
            <a:chOff x="5592494" y="1770688"/>
            <a:chExt cx="1321202" cy="1231013"/>
          </a:xfrm>
        </p:grpSpPr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E8C53299-1010-CE44-840C-BBE547EE945D}"/>
                </a:ext>
              </a:extLst>
            </p:cNvPr>
            <p:cNvCxnSpPr/>
            <p:nvPr/>
          </p:nvCxnSpPr>
          <p:spPr>
            <a:xfrm>
              <a:off x="5592494" y="1770688"/>
              <a:ext cx="1321202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58DAD48-5175-1948-A6F1-AFBFB00834BD}"/>
                </a:ext>
              </a:extLst>
            </p:cNvPr>
            <p:cNvCxnSpPr/>
            <p:nvPr/>
          </p:nvCxnSpPr>
          <p:spPr>
            <a:xfrm>
              <a:off x="5592494" y="2264047"/>
              <a:ext cx="1321202" cy="0"/>
            </a:xfrm>
            <a:prstGeom prst="line">
              <a:avLst/>
            </a:prstGeom>
            <a:ln w="12700">
              <a:solidFill>
                <a:schemeClr val="tx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7B134A15-885E-E342-955E-8621AEA9ABB2}"/>
                </a:ext>
              </a:extLst>
            </p:cNvPr>
            <p:cNvCxnSpPr/>
            <p:nvPr/>
          </p:nvCxnSpPr>
          <p:spPr>
            <a:xfrm>
              <a:off x="5592494" y="3001701"/>
              <a:ext cx="1321202" cy="0"/>
            </a:xfrm>
            <a:prstGeom prst="line">
              <a:avLst/>
            </a:prstGeom>
            <a:ln w="12700">
              <a:solidFill>
                <a:schemeClr val="tx1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F666159B-6BEF-A541-984F-22C895E54DA6}"/>
                </a:ext>
              </a:extLst>
            </p:cNvPr>
            <p:cNvCxnSpPr/>
            <p:nvPr/>
          </p:nvCxnSpPr>
          <p:spPr>
            <a:xfrm>
              <a:off x="5592494" y="2509933"/>
              <a:ext cx="1321202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D9C540BD-2D1A-3D40-9579-5DBAEC19A423}"/>
                </a:ext>
              </a:extLst>
            </p:cNvPr>
            <p:cNvCxnSpPr/>
            <p:nvPr/>
          </p:nvCxnSpPr>
          <p:spPr>
            <a:xfrm flipH="1">
              <a:off x="5592494" y="2755818"/>
              <a:ext cx="1321202" cy="0"/>
            </a:xfrm>
            <a:prstGeom prst="line">
              <a:avLst/>
            </a:prstGeom>
            <a:ln w="50800" cap="rnd" cmpd="sng" algn="ctr">
              <a:gradFill flip="none" rotWithShape="1">
                <a:gsLst>
                  <a:gs pos="0">
                    <a:schemeClr val="tx1"/>
                  </a:gs>
                  <a:gs pos="100000">
                    <a:schemeClr val="bg2">
                      <a:alpha val="0"/>
                    </a:schemeClr>
                  </a:gs>
                </a:gsLst>
                <a:lin ang="0" scaled="1"/>
                <a:tileRect/>
              </a:gradFill>
              <a:prstDash val="sysDot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5C48F505-AC0C-8447-A9CC-D575A7AD1EBA}"/>
                </a:ext>
              </a:extLst>
            </p:cNvPr>
            <p:cNvCxnSpPr/>
            <p:nvPr/>
          </p:nvCxnSpPr>
          <p:spPr>
            <a:xfrm flipV="1">
              <a:off x="5594082" y="2016573"/>
              <a:ext cx="1319614" cy="1588"/>
            </a:xfrm>
            <a:prstGeom prst="line">
              <a:avLst/>
            </a:prstGeom>
            <a:ln w="25400" cap="rnd" cmpd="sng" algn="ctr">
              <a:gradFill flip="none" rotWithShape="1">
                <a:gsLst>
                  <a:gs pos="0">
                    <a:schemeClr val="tx1"/>
                  </a:gs>
                  <a:gs pos="100000">
                    <a:srgbClr val="FFFFFF">
                      <a:alpha val="0"/>
                    </a:srgbClr>
                  </a:gs>
                </a:gsLst>
                <a:lin ang="0" scaled="1"/>
                <a:tileRect/>
              </a:gradFill>
              <a:prstDash val="sysDot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7" name="TextBox 106">
            <a:extLst>
              <a:ext uri="{FF2B5EF4-FFF2-40B4-BE49-F238E27FC236}">
                <a16:creationId xmlns:a16="http://schemas.microsoft.com/office/drawing/2014/main" id="{5A1D83F1-F1C3-C245-A6B8-819D1F8DC08E}"/>
              </a:ext>
            </a:extLst>
          </p:cNvPr>
          <p:cNvSpPr txBox="1"/>
          <p:nvPr/>
        </p:nvSpPr>
        <p:spPr>
          <a:xfrm>
            <a:off x="459658" y="2544219"/>
            <a:ext cx="674399" cy="18466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400"/>
              </a:spcAft>
            </a:pPr>
            <a:r>
              <a:rPr lang="en-US" sz="600" dirty="0">
                <a:solidFill>
                  <a:schemeClr val="bg1">
                    <a:alpha val="61000"/>
                  </a:schemeClr>
                </a:solidFill>
                <a:latin typeface="+mj-lt"/>
              </a:rPr>
              <a:t>DEEP BLUE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4CE0B4FE-3EDA-6341-8E65-B448F770764D}"/>
              </a:ext>
            </a:extLst>
          </p:cNvPr>
          <p:cNvSpPr txBox="1"/>
          <p:nvPr/>
        </p:nvSpPr>
        <p:spPr>
          <a:xfrm>
            <a:off x="1901108" y="2544219"/>
            <a:ext cx="1718391" cy="18466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spcAft>
                <a:spcPts val="400"/>
              </a:spcAft>
            </a:pPr>
            <a:r>
              <a:rPr lang="en-US" sz="600" dirty="0">
                <a:solidFill>
                  <a:schemeClr val="bg1">
                    <a:alpha val="61000"/>
                  </a:schemeClr>
                </a:solidFill>
                <a:latin typeface="+mj-lt"/>
              </a:rPr>
              <a:t>DEEP BLUE TO BLACK GRADIENT</a:t>
            </a:r>
          </a:p>
        </p:txBody>
      </p:sp>
    </p:spTree>
    <p:extLst>
      <p:ext uri="{BB962C8B-B14F-4D97-AF65-F5344CB8AC3E}">
        <p14:creationId xmlns:p14="http://schemas.microsoft.com/office/powerpoint/2010/main" val="3820018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264160" y="885801"/>
            <a:ext cx="8584006" cy="2509918"/>
          </a:xfrm>
        </p:spPr>
        <p:txBody>
          <a:bodyPr/>
          <a:lstStyle/>
          <a:p>
            <a:r>
              <a:rPr lang="en-US" dirty="0"/>
              <a:t>We are currently updating our </a:t>
            </a:r>
            <a:r>
              <a:rPr lang="en-US" dirty="0">
                <a:hlinkClick r:id="rId3"/>
              </a:rPr>
              <a:t>Brand Portal</a:t>
            </a:r>
            <a:r>
              <a:rPr lang="en-US" dirty="0"/>
              <a:t> so please check back for updated versions of the following resources:</a:t>
            </a:r>
          </a:p>
          <a:p>
            <a:pPr lvl="1"/>
            <a:r>
              <a:rPr lang="en-US" dirty="0"/>
              <a:t>Additional Cover and Divider Slides</a:t>
            </a:r>
          </a:p>
          <a:p>
            <a:pPr lvl="1"/>
            <a:r>
              <a:rPr lang="en-US" dirty="0"/>
              <a:t>PowerPoint Icon Library</a:t>
            </a:r>
          </a:p>
          <a:p>
            <a:pPr lvl="1"/>
            <a:r>
              <a:rPr lang="en-US" dirty="0"/>
              <a:t>PowerPoint Diagram Library</a:t>
            </a:r>
          </a:p>
          <a:p>
            <a:r>
              <a:rPr lang="en-US" dirty="0"/>
              <a:t>Questions? Email us at </a:t>
            </a:r>
            <a:r>
              <a:rPr lang="en-US" dirty="0">
                <a:hlinkClick r:id="rId4"/>
              </a:rPr>
              <a:t>brand@HitachiVantara.com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Point Assets </a:t>
            </a:r>
            <a:br>
              <a:rPr lang="en-US" dirty="0"/>
            </a:br>
            <a:r>
              <a:rPr lang="en-US" sz="1800" b="0" dirty="0"/>
              <a:t>(View in Slideshow Mode to Activate Links in this Presentation)</a:t>
            </a:r>
          </a:p>
        </p:txBody>
      </p:sp>
    </p:spTree>
    <p:extLst>
      <p:ext uri="{BB962C8B-B14F-4D97-AF65-F5344CB8AC3E}">
        <p14:creationId xmlns:p14="http://schemas.microsoft.com/office/powerpoint/2010/main" val="4235939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irst-level bullet copy is 20pt Arial</a:t>
            </a:r>
          </a:p>
          <a:p>
            <a:r>
              <a:rPr lang="en-US" dirty="0"/>
              <a:t>Levels of bullets should have a 2pt difference</a:t>
            </a:r>
          </a:p>
          <a:p>
            <a:pPr lvl="1"/>
            <a:r>
              <a:rPr lang="en-US" dirty="0"/>
              <a:t>Minimum bulleted text size is 14pt</a:t>
            </a:r>
          </a:p>
          <a:p>
            <a:r>
              <a:rPr lang="en-US" dirty="0"/>
              <a:t>Try not to exceed 6 bullet points on a slide</a:t>
            </a:r>
          </a:p>
          <a:p>
            <a:r>
              <a:rPr lang="en-US" dirty="0"/>
              <a:t>Bulleted copy should be sentence case</a:t>
            </a:r>
          </a:p>
          <a:p>
            <a:pPr lvl="1"/>
            <a:r>
              <a:rPr lang="en-US" dirty="0"/>
              <a:t>Do not use punctuation within bulleted text</a:t>
            </a:r>
          </a:p>
          <a:p>
            <a:r>
              <a:rPr lang="en-US" dirty="0"/>
              <a:t>Use Arial bold and color to </a:t>
            </a:r>
            <a:r>
              <a:rPr lang="en-US" b="1" dirty="0">
                <a:solidFill>
                  <a:schemeClr val="accent2"/>
                </a:solidFill>
              </a:rPr>
              <a:t>highlight tex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Bullet Slide </a:t>
            </a:r>
            <a:r>
              <a:rPr lang="en-US" dirty="0"/>
              <a:t>Example 24pt Arial Bold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94004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4160" y="893235"/>
            <a:ext cx="8584006" cy="2975686"/>
          </a:xfrm>
        </p:spPr>
        <p:txBody>
          <a:bodyPr/>
          <a:lstStyle/>
          <a:p>
            <a:r>
              <a:rPr lang="en-US" dirty="0"/>
              <a:t>First-level bullet copy is 20pt Arial</a:t>
            </a:r>
          </a:p>
          <a:p>
            <a:r>
              <a:rPr lang="en-US" dirty="0"/>
              <a:t>Levels of bullets should have a 2pt difference</a:t>
            </a:r>
          </a:p>
          <a:p>
            <a:pPr lvl="1"/>
            <a:r>
              <a:rPr lang="en-US" dirty="0"/>
              <a:t>Minimum bulleted text size is 14pt</a:t>
            </a:r>
          </a:p>
          <a:p>
            <a:r>
              <a:rPr lang="en-US" dirty="0"/>
              <a:t>Try not to exceed 6 bullet points on a slide</a:t>
            </a:r>
          </a:p>
          <a:p>
            <a:r>
              <a:rPr lang="en-US" dirty="0"/>
              <a:t>Bulleted copy should be sentence case</a:t>
            </a:r>
          </a:p>
          <a:p>
            <a:r>
              <a:rPr lang="en-US" dirty="0"/>
              <a:t>Use Arial bold and color to </a:t>
            </a:r>
            <a:r>
              <a:rPr lang="en-US" b="1" dirty="0">
                <a:solidFill>
                  <a:schemeClr val="accent2"/>
                </a:solidFill>
              </a:rPr>
              <a:t>highlight tex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nfidential</a:t>
            </a:r>
            <a:r>
              <a:rPr lang="en-US" sz="2400" dirty="0"/>
              <a:t> Slide </a:t>
            </a:r>
            <a:r>
              <a:rPr lang="en-US" dirty="0"/>
              <a:t>E</a:t>
            </a:r>
            <a:r>
              <a:rPr lang="en-US" sz="2400" dirty="0"/>
              <a:t>xample 24pt Arial Bold</a:t>
            </a:r>
            <a:br>
              <a:rPr lang="en-US" sz="2400" dirty="0"/>
            </a:br>
            <a:r>
              <a:rPr lang="en-US" sz="1800" b="0" dirty="0"/>
              <a:t>Subtitle Example 18pt Arial Regular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6479955" y="3073399"/>
            <a:ext cx="2503624" cy="1847255"/>
            <a:chOff x="3489330" y="3939451"/>
            <a:chExt cx="2133475" cy="1847255"/>
          </a:xfrm>
        </p:grpSpPr>
        <p:sp>
          <p:nvSpPr>
            <p:cNvPr id="10" name="Rectangular Callout 9"/>
            <p:cNvSpPr/>
            <p:nvPr/>
          </p:nvSpPr>
          <p:spPr>
            <a:xfrm>
              <a:off x="3489331" y="3939451"/>
              <a:ext cx="2133474" cy="1744134"/>
            </a:xfrm>
            <a:prstGeom prst="wedgeRectCallout">
              <a:avLst>
                <a:gd name="adj1" fmla="val -99431"/>
                <a:gd name="adj2" fmla="val 58546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3565534" y="4186268"/>
              <a:ext cx="2057271" cy="160043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spcAft>
                  <a:spcPts val="1200"/>
                </a:spcAft>
              </a:pPr>
              <a:r>
                <a:rPr lang="en-US" sz="1400" dirty="0">
                  <a:solidFill>
                    <a:schemeClr val="bg1"/>
                  </a:solidFill>
                </a:rPr>
                <a:t>If the full presentation </a:t>
              </a:r>
              <a:br>
                <a:rPr lang="en-US" sz="1400" dirty="0">
                  <a:solidFill>
                    <a:schemeClr val="bg1"/>
                  </a:solidFill>
                </a:rPr>
              </a:br>
              <a:r>
                <a:rPr lang="en-US" sz="1400" dirty="0">
                  <a:solidFill>
                    <a:schemeClr val="bg1"/>
                  </a:solidFill>
                </a:rPr>
                <a:t>is internal or confidential, </a:t>
              </a:r>
              <a:br>
                <a:rPr lang="en-US" sz="1400" dirty="0">
                  <a:solidFill>
                    <a:schemeClr val="bg1"/>
                  </a:solidFill>
                </a:rPr>
              </a:br>
              <a:r>
                <a:rPr lang="en-US" sz="1400" dirty="0">
                  <a:solidFill>
                    <a:schemeClr val="bg1"/>
                  </a:solidFill>
                </a:rPr>
                <a:t>every slide must include </a:t>
              </a:r>
              <a:br>
                <a:rPr lang="en-US" sz="1400" dirty="0">
                  <a:solidFill>
                    <a:schemeClr val="bg1"/>
                  </a:solidFill>
                </a:rPr>
              </a:br>
              <a:r>
                <a:rPr lang="en-US" sz="1400" dirty="0">
                  <a:solidFill>
                    <a:schemeClr val="bg1"/>
                  </a:solidFill>
                </a:rPr>
                <a:t>a confidentiality statement. 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3489330" y="3939452"/>
              <a:ext cx="2133475" cy="555282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 cap="all" dirty="0">
                  <a:solidFill>
                    <a:schemeClr val="bg1"/>
                  </a:solidFill>
                  <a:latin typeface="Arial Black"/>
                  <a:cs typeface="Arial Black"/>
                </a:rPr>
                <a:t>NO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93073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Keep text minimal </a:t>
            </a:r>
          </a:p>
          <a:p>
            <a:pPr lvl="1"/>
            <a:r>
              <a:rPr lang="en-US" dirty="0"/>
              <a:t>Minimum bulleted text size </a:t>
            </a:r>
            <a:br>
              <a:rPr lang="en-US" dirty="0"/>
            </a:br>
            <a:r>
              <a:rPr lang="en-US" dirty="0"/>
              <a:t>is 14pt</a:t>
            </a:r>
          </a:p>
          <a:p>
            <a:r>
              <a:rPr lang="en-US" dirty="0"/>
              <a:t>Find brand, business, industry photography and more on </a:t>
            </a:r>
            <a:br>
              <a:rPr lang="en-US" dirty="0"/>
            </a:br>
            <a:r>
              <a:rPr lang="en-US" dirty="0"/>
              <a:t>the Image Library in the </a:t>
            </a:r>
            <a:br>
              <a:rPr lang="en-US" dirty="0"/>
            </a:br>
            <a:r>
              <a:rPr lang="en-US" dirty="0"/>
              <a:t>Brand Assets section on the </a:t>
            </a:r>
            <a:br>
              <a:rPr lang="en-US" dirty="0"/>
            </a:br>
            <a:r>
              <a:rPr lang="en-US" dirty="0">
                <a:hlinkClick r:id="rId4"/>
              </a:rPr>
              <a:t>Brand Portal</a:t>
            </a:r>
            <a:endParaRPr lang="en-US" dirty="0"/>
          </a:p>
          <a:p>
            <a:pPr lvl="1"/>
            <a:r>
              <a:rPr lang="en-US" dirty="0"/>
              <a:t>View in slideshow mode to </a:t>
            </a:r>
            <a:br>
              <a:rPr lang="en-US" dirty="0"/>
            </a:br>
            <a:r>
              <a:rPr lang="en-US" dirty="0"/>
              <a:t>activate link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oto and Text Slide Exampl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784558" y="1031099"/>
            <a:ext cx="3898900" cy="356251"/>
          </a:xfrm>
          <a:prstGeom prst="rect">
            <a:avLst/>
          </a:prstGeom>
          <a:noFill/>
          <a:effectLst/>
        </p:spPr>
        <p:txBody>
          <a:bodyPr wrap="square" rtlCol="0" anchor="ctr" anchorCtr="0">
            <a:spAutoFit/>
          </a:bodyPr>
          <a:lstStyle>
            <a:defPPr>
              <a:defRPr lang="en-US"/>
            </a:defPPr>
            <a:lvl1pPr>
              <a:lnSpc>
                <a:spcPct val="70000"/>
              </a:lnSpc>
              <a:defRPr sz="5400" b="1">
                <a:solidFill>
                  <a:srgbClr val="414042"/>
                </a:solidFill>
                <a:latin typeface="HelveticaNeueLT Std" pitchFamily="34" charset="0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  <a:latin typeface="Arial"/>
                <a:cs typeface="Arial"/>
              </a:rPr>
              <a:t>TEXT EXAMPLE</a:t>
            </a:r>
          </a:p>
        </p:txBody>
      </p:sp>
    </p:spTree>
    <p:extLst>
      <p:ext uri="{BB962C8B-B14F-4D97-AF65-F5344CB8AC3E}">
        <p14:creationId xmlns:p14="http://schemas.microsoft.com/office/powerpoint/2010/main" val="7232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0E67F602-DE3B-804B-A575-779B68C2EAE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16348"/>
            <a:ext cx="9144000" cy="43299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oto and Icon Slide Example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816349"/>
            <a:ext cx="9163456" cy="4337248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26000"/>
                  <a:lumMod val="66000"/>
                </a:schemeClr>
              </a:gs>
              <a:gs pos="51000">
                <a:srgbClr val="916F6C">
                  <a:alpha val="0"/>
                </a:srgbClr>
              </a:gs>
              <a:gs pos="100000">
                <a:schemeClr val="accent2">
                  <a:alpha val="70000"/>
                  <a:lumMod val="82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4281" tIns="17140" rIns="34281" bIns="17140" rtlCol="0" anchor="ctr"/>
          <a:lstStyle/>
          <a:p>
            <a:pPr algn="ctr"/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6191124" y="1314023"/>
            <a:ext cx="2632836" cy="3306040"/>
            <a:chOff x="6191124" y="1314023"/>
            <a:chExt cx="2632836" cy="3306040"/>
          </a:xfrm>
        </p:grpSpPr>
        <p:grpSp>
          <p:nvGrpSpPr>
            <p:cNvPr id="6" name="Group 5"/>
            <p:cNvGrpSpPr/>
            <p:nvPr/>
          </p:nvGrpSpPr>
          <p:grpSpPr>
            <a:xfrm>
              <a:off x="6191124" y="1314023"/>
              <a:ext cx="2632836" cy="3306040"/>
              <a:chOff x="354705" y="1261300"/>
              <a:chExt cx="2523406" cy="3168630"/>
            </a:xfrm>
          </p:grpSpPr>
          <p:sp>
            <p:nvSpPr>
              <p:cNvPr id="8" name="Rectangle 7"/>
              <p:cNvSpPr/>
              <p:nvPr/>
            </p:nvSpPr>
            <p:spPr>
              <a:xfrm>
                <a:off x="354705" y="2150152"/>
                <a:ext cx="2523406" cy="2279778"/>
              </a:xfrm>
              <a:prstGeom prst="rect">
                <a:avLst/>
              </a:prstGeom>
              <a:solidFill>
                <a:schemeClr val="tx2">
                  <a:alpha val="7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>
                  <a:latin typeface="+mj-lt"/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354993" y="1261300"/>
                <a:ext cx="2523118" cy="888852"/>
              </a:xfrm>
              <a:prstGeom prst="rect">
                <a:avLst/>
              </a:prstGeom>
              <a:solidFill>
                <a:schemeClr val="accent3">
                  <a:alpha val="8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91440" tIns="91440" rIns="91440" bIns="91440" rtlCol="0" anchor="ctr" anchorCtr="0"/>
              <a:lstStyle/>
              <a:p>
                <a:pPr algn="ctr"/>
                <a:r>
                  <a:rPr lang="en-US" b="1" dirty="0"/>
                  <a:t>MAIN POINT</a:t>
                </a:r>
              </a:p>
            </p:txBody>
          </p:sp>
        </p:grp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75805" y="2668783"/>
              <a:ext cx="1826182" cy="1453114"/>
            </a:xfrm>
            <a:prstGeom prst="rect">
              <a:avLst/>
            </a:prstGeom>
          </p:spPr>
        </p:pic>
      </p:grpSp>
      <p:grpSp>
        <p:nvGrpSpPr>
          <p:cNvPr id="10" name="Group 9"/>
          <p:cNvGrpSpPr/>
          <p:nvPr/>
        </p:nvGrpSpPr>
        <p:grpSpPr>
          <a:xfrm>
            <a:off x="329970" y="1314023"/>
            <a:ext cx="2632836" cy="3306040"/>
            <a:chOff x="329970" y="1314023"/>
            <a:chExt cx="2632836" cy="3306040"/>
          </a:xfrm>
        </p:grpSpPr>
        <p:grpSp>
          <p:nvGrpSpPr>
            <p:cNvPr id="11" name="Group 10"/>
            <p:cNvGrpSpPr/>
            <p:nvPr/>
          </p:nvGrpSpPr>
          <p:grpSpPr>
            <a:xfrm>
              <a:off x="329970" y="1314023"/>
              <a:ext cx="2632836" cy="3306040"/>
              <a:chOff x="354705" y="1261300"/>
              <a:chExt cx="2523406" cy="3168630"/>
            </a:xfrm>
          </p:grpSpPr>
          <p:sp>
            <p:nvSpPr>
              <p:cNvPr id="13" name="Rectangle 12"/>
              <p:cNvSpPr/>
              <p:nvPr/>
            </p:nvSpPr>
            <p:spPr>
              <a:xfrm>
                <a:off x="354705" y="2150152"/>
                <a:ext cx="2523406" cy="2279778"/>
              </a:xfrm>
              <a:prstGeom prst="rect">
                <a:avLst/>
              </a:prstGeom>
              <a:solidFill>
                <a:schemeClr val="tx2">
                  <a:alpha val="7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>
                  <a:latin typeface="+mj-lt"/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54993" y="1261300"/>
                <a:ext cx="2523118" cy="888852"/>
              </a:xfrm>
              <a:prstGeom prst="rect">
                <a:avLst/>
              </a:prstGeom>
              <a:solidFill>
                <a:schemeClr val="accent3">
                  <a:alpha val="8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91440" tIns="91440" rIns="91440" bIns="91440" rtlCol="0" anchor="ctr" anchorCtr="0"/>
              <a:lstStyle/>
              <a:p>
                <a:pPr algn="ctr"/>
                <a:r>
                  <a:rPr lang="en-US" b="1" dirty="0"/>
                  <a:t>MAIN POINT</a:t>
                </a:r>
              </a:p>
            </p:txBody>
          </p:sp>
        </p:grp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9899" y="2766711"/>
              <a:ext cx="1453538" cy="1362692"/>
            </a:xfrm>
            <a:prstGeom prst="rect">
              <a:avLst/>
            </a:prstGeom>
          </p:spPr>
        </p:pic>
      </p:grpSp>
      <p:grpSp>
        <p:nvGrpSpPr>
          <p:cNvPr id="15" name="Group 14"/>
          <p:cNvGrpSpPr/>
          <p:nvPr/>
        </p:nvGrpSpPr>
        <p:grpSpPr>
          <a:xfrm>
            <a:off x="3260547" y="1314023"/>
            <a:ext cx="2632836" cy="3306040"/>
            <a:chOff x="3260547" y="1314023"/>
            <a:chExt cx="2632836" cy="3306040"/>
          </a:xfrm>
        </p:grpSpPr>
        <p:grpSp>
          <p:nvGrpSpPr>
            <p:cNvPr id="16" name="Group 15"/>
            <p:cNvGrpSpPr/>
            <p:nvPr/>
          </p:nvGrpSpPr>
          <p:grpSpPr>
            <a:xfrm>
              <a:off x="3260547" y="1314023"/>
              <a:ext cx="2632836" cy="3306040"/>
              <a:chOff x="354705" y="1261300"/>
              <a:chExt cx="2523406" cy="3168630"/>
            </a:xfrm>
          </p:grpSpPr>
          <p:sp>
            <p:nvSpPr>
              <p:cNvPr id="20" name="Rectangle 19"/>
              <p:cNvSpPr/>
              <p:nvPr/>
            </p:nvSpPr>
            <p:spPr>
              <a:xfrm>
                <a:off x="354705" y="2150152"/>
                <a:ext cx="2523406" cy="2279778"/>
              </a:xfrm>
              <a:prstGeom prst="rect">
                <a:avLst/>
              </a:prstGeom>
              <a:solidFill>
                <a:schemeClr val="tx2">
                  <a:alpha val="7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>
                  <a:latin typeface="+mj-lt"/>
                </a:endParaRPr>
              </a:p>
            </p:txBody>
          </p:sp>
          <p:sp>
            <p:nvSpPr>
              <p:cNvPr id="21" name="Rectangle 20"/>
              <p:cNvSpPr/>
              <p:nvPr/>
            </p:nvSpPr>
            <p:spPr>
              <a:xfrm>
                <a:off x="354993" y="1261300"/>
                <a:ext cx="2523118" cy="888852"/>
              </a:xfrm>
              <a:prstGeom prst="rect">
                <a:avLst/>
              </a:prstGeom>
              <a:solidFill>
                <a:schemeClr val="accent3">
                  <a:alpha val="8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91440" tIns="91440" rIns="91440" bIns="91440" rtlCol="0" anchor="ctr" anchorCtr="0"/>
              <a:lstStyle/>
              <a:p>
                <a:pPr algn="ctr"/>
                <a:r>
                  <a:rPr lang="en-US" b="1" dirty="0"/>
                  <a:t>MAIN POINT</a:t>
                </a:r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3763417" y="2868334"/>
              <a:ext cx="1633042" cy="1006670"/>
              <a:chOff x="3657270" y="2845379"/>
              <a:chExt cx="1845335" cy="1137536"/>
            </a:xfrm>
          </p:grpSpPr>
          <p:pic>
            <p:nvPicPr>
              <p:cNvPr id="18" name="Picture 17"/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657270" y="2845379"/>
                <a:ext cx="1845335" cy="1137536"/>
              </a:xfrm>
              <a:prstGeom prst="rect">
                <a:avLst/>
              </a:prstGeom>
            </p:spPr>
          </p:pic>
          <p:pic>
            <p:nvPicPr>
              <p:cNvPr id="19" name="Picture 18" descr="HDS-Icon_Growth_White.png"/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168150" y="3154950"/>
                <a:ext cx="823576" cy="701150"/>
              </a:xfrm>
              <a:prstGeom prst="rect">
                <a:avLst/>
              </a:prstGeom>
            </p:spPr>
          </p:pic>
        </p:grpSp>
      </p:grpSp>
      <p:grpSp>
        <p:nvGrpSpPr>
          <p:cNvPr id="23" name="Group 22"/>
          <p:cNvGrpSpPr/>
          <p:nvPr/>
        </p:nvGrpSpPr>
        <p:grpSpPr>
          <a:xfrm>
            <a:off x="5226766" y="1348677"/>
            <a:ext cx="2503624" cy="2077352"/>
            <a:chOff x="3489330" y="3939451"/>
            <a:chExt cx="2133475" cy="2077352"/>
          </a:xfrm>
        </p:grpSpPr>
        <p:sp>
          <p:nvSpPr>
            <p:cNvPr id="24" name="Rectangular Callout 23"/>
            <p:cNvSpPr/>
            <p:nvPr/>
          </p:nvSpPr>
          <p:spPr>
            <a:xfrm>
              <a:off x="3489331" y="3939451"/>
              <a:ext cx="2133474" cy="2077352"/>
            </a:xfrm>
            <a:prstGeom prst="wedgeRectCallout">
              <a:avLst>
                <a:gd name="adj1" fmla="val -21820"/>
                <a:gd name="adj2" fmla="val -75501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3561961" y="4542404"/>
              <a:ext cx="2057271" cy="138499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spcAft>
                  <a:spcPts val="1200"/>
                </a:spcAft>
              </a:pPr>
              <a:r>
                <a:rPr lang="en-US" sz="1400" dirty="0">
                  <a:solidFill>
                    <a:schemeClr val="bg1"/>
                  </a:solidFill>
                </a:rPr>
                <a:t>On interior image background slides, image should align below (orange) template guideline. Make sure ”Guides” is selected under “View” in PowerPoint.</a:t>
              </a: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3489330" y="3939452"/>
              <a:ext cx="2133475" cy="555282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 cap="all" dirty="0">
                  <a:solidFill>
                    <a:schemeClr val="bg1"/>
                  </a:solidFill>
                  <a:latin typeface="Arial Black"/>
                  <a:cs typeface="Arial Black"/>
                </a:rPr>
                <a:t>NOTE</a:t>
              </a: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6641794" y="4911221"/>
            <a:ext cx="24625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defRPr/>
            </a:pPr>
            <a:r>
              <a:rPr lang="en-US" sz="800" dirty="0">
                <a:solidFill>
                  <a:schemeClr val="bg1">
                    <a:alpha val="50000"/>
                  </a:schemeClr>
                </a:solidFill>
              </a:rPr>
              <a:t>© Hitachi Vantara LLC 2020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6081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 rot="10800000">
            <a:off x="4514130" y="1111644"/>
            <a:ext cx="2581151" cy="200194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4" name="Rectangle 23"/>
          <p:cNvSpPr/>
          <p:nvPr/>
        </p:nvSpPr>
        <p:spPr>
          <a:xfrm rot="10800000">
            <a:off x="6424905" y="2395960"/>
            <a:ext cx="2371793" cy="221076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64160" y="885801"/>
            <a:ext cx="3661069" cy="1775871"/>
          </a:xfrm>
        </p:spPr>
        <p:txBody>
          <a:bodyPr/>
          <a:lstStyle/>
          <a:p>
            <a:r>
              <a:rPr lang="en-US" dirty="0"/>
              <a:t>Keep text minimal</a:t>
            </a:r>
          </a:p>
          <a:p>
            <a:r>
              <a:rPr lang="en-US" dirty="0"/>
              <a:t>Combine icons and symbols </a:t>
            </a:r>
            <a:br>
              <a:rPr lang="en-US" dirty="0"/>
            </a:br>
            <a:r>
              <a:rPr lang="en-US" dirty="0"/>
              <a:t>to convey ideas visually</a:t>
            </a:r>
          </a:p>
          <a:p>
            <a:pPr marL="280988" lvl="1" indent="-280988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</a:pPr>
            <a:r>
              <a:rPr lang="en-US" sz="2000" dirty="0"/>
              <a:t>Find a PowerPoint file of all icons on the Templates section of the </a:t>
            </a:r>
            <a:r>
              <a:rPr lang="en-US" sz="2000" dirty="0">
                <a:solidFill>
                  <a:srgbClr val="00C8DC"/>
                </a:solidFill>
                <a:hlinkClick r:id="rId3"/>
              </a:rPr>
              <a:t>Brand Portal</a:t>
            </a:r>
            <a:endParaRPr lang="en-US" sz="2000" dirty="0">
              <a:solidFill>
                <a:srgbClr val="00C8DC"/>
              </a:solidFill>
            </a:endParaRPr>
          </a:p>
          <a:p>
            <a:pPr lvl="1"/>
            <a:r>
              <a:rPr lang="en-US" dirty="0"/>
              <a:t>View in slideshow mode to activate link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cons and Text Exampl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2698" y="1495858"/>
            <a:ext cx="1449139" cy="133829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2434" y="1313488"/>
            <a:ext cx="911642" cy="6683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5086" y="3866021"/>
            <a:ext cx="489452" cy="582387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9510" y="2571750"/>
            <a:ext cx="1610056" cy="1222919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88198" y="3866021"/>
            <a:ext cx="489452" cy="582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276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wo styles for highlighting </a:t>
            </a:r>
            <a:br>
              <a:rPr lang="en-US" dirty="0"/>
            </a:br>
            <a:r>
              <a:rPr lang="en-US" dirty="0"/>
              <a:t>key text or quotes with </a:t>
            </a:r>
            <a:br>
              <a:rPr lang="en-US" dirty="0"/>
            </a:br>
            <a:r>
              <a:rPr lang="en-US" dirty="0"/>
              <a:t>callout boxes</a:t>
            </a:r>
          </a:p>
          <a:p>
            <a:pPr lvl="1"/>
            <a:r>
              <a:rPr lang="en-US" dirty="0"/>
              <a:t>The top option works best </a:t>
            </a:r>
            <a:br>
              <a:rPr lang="en-US" dirty="0"/>
            </a:br>
            <a:r>
              <a:rPr lang="en-US" dirty="0"/>
              <a:t>for plain text</a:t>
            </a:r>
          </a:p>
          <a:p>
            <a:pPr lvl="1"/>
            <a:r>
              <a:rPr lang="en-US" dirty="0"/>
              <a:t>Use the bottom option if </a:t>
            </a:r>
            <a:br>
              <a:rPr lang="en-US" dirty="0"/>
            </a:br>
            <a:r>
              <a:rPr lang="en-US" dirty="0"/>
              <a:t>you include a logo</a:t>
            </a:r>
          </a:p>
          <a:p>
            <a:r>
              <a:rPr lang="en-US" dirty="0"/>
              <a:t>Keep text minimal </a:t>
            </a:r>
          </a:p>
          <a:p>
            <a:pPr lvl="1"/>
            <a:r>
              <a:rPr lang="en-US" dirty="0"/>
              <a:t>Minimum bulleted text size </a:t>
            </a:r>
            <a:br>
              <a:rPr lang="en-US" dirty="0"/>
            </a:br>
            <a:r>
              <a:rPr lang="en-US" dirty="0"/>
              <a:t>is 14pt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t and Quote or Callout Example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419602" y="1067614"/>
            <a:ext cx="4267198" cy="1542212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274320" rIns="274320" bIns="2743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Insert your quotation or callout text in this box. Use Arial white text with a minimum size of 14pt.</a:t>
            </a:r>
          </a:p>
          <a:p>
            <a:endParaRPr lang="en-US" sz="1600" dirty="0">
              <a:solidFill>
                <a:schemeClr val="bg1"/>
              </a:solidFill>
            </a:endParaRPr>
          </a:p>
          <a:p>
            <a:pPr algn="r"/>
            <a:r>
              <a:rPr lang="en-US" sz="1600" i="1" dirty="0">
                <a:solidFill>
                  <a:schemeClr val="bg1"/>
                </a:solidFill>
              </a:rPr>
              <a:t>– Source attribution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4419602" y="2904070"/>
            <a:ext cx="4267198" cy="1666580"/>
            <a:chOff x="4419602" y="2904069"/>
            <a:chExt cx="4267198" cy="1666580"/>
          </a:xfrm>
        </p:grpSpPr>
        <p:grpSp>
          <p:nvGrpSpPr>
            <p:cNvPr id="23" name="Group 22"/>
            <p:cNvGrpSpPr/>
            <p:nvPr/>
          </p:nvGrpSpPr>
          <p:grpSpPr>
            <a:xfrm>
              <a:off x="4419602" y="2904069"/>
              <a:ext cx="4267198" cy="1666580"/>
              <a:chOff x="4419602" y="1017353"/>
              <a:chExt cx="4267198" cy="1666580"/>
            </a:xfrm>
          </p:grpSpPr>
          <p:sp>
            <p:nvSpPr>
              <p:cNvPr id="24" name="Rectangle 23"/>
              <p:cNvSpPr/>
              <p:nvPr/>
            </p:nvSpPr>
            <p:spPr>
              <a:xfrm>
                <a:off x="4419602" y="1017353"/>
                <a:ext cx="4267198" cy="126864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74320" tIns="274320" rIns="274320" bIns="2743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indent="-457200">
                  <a:lnSpc>
                    <a:spcPct val="11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bg1"/>
                    </a:solidFill>
                  </a:rPr>
                  <a:t>Insert your quotation or callout text in this box. Use Arial white text with a minimum size of 14pt.</a:t>
                </a: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4419602" y="2285999"/>
                <a:ext cx="4267198" cy="39793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74320" tIns="274320" rIns="274320" bIns="2743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indent="-457200" algn="r">
                  <a:lnSpc>
                    <a:spcPct val="110000"/>
                  </a:lnSpc>
                  <a:spcAft>
                    <a:spcPts val="600"/>
                  </a:spcAft>
                </a:pPr>
                <a:r>
                  <a:rPr lang="en-US" sz="1600" i="1" dirty="0">
                    <a:solidFill>
                      <a:schemeClr val="accent2"/>
                    </a:solidFill>
                  </a:rPr>
                  <a:t>– Source attribution</a:t>
                </a:r>
              </a:p>
            </p:txBody>
          </p:sp>
        </p:grpSp>
        <p:pic>
          <p:nvPicPr>
            <p:cNvPr id="28" name="Picture 27" descr="logo.png"/>
            <p:cNvPicPr>
              <a:picLocks noChangeAspect="1"/>
            </p:cNvPicPr>
            <p:nvPr/>
          </p:nvPicPr>
          <p:blipFill>
            <a:blip r:embed="rId2" cstate="email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98261" y="4248338"/>
              <a:ext cx="663511" cy="2534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66313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ivider Slide Sample</a:t>
            </a:r>
          </a:p>
        </p:txBody>
      </p:sp>
    </p:spTree>
    <p:extLst>
      <p:ext uri="{BB962C8B-B14F-4D97-AF65-F5344CB8AC3E}">
        <p14:creationId xmlns:p14="http://schemas.microsoft.com/office/powerpoint/2010/main" val="3052275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337626" y="2620403"/>
            <a:ext cx="8506337" cy="621906"/>
            <a:chOff x="269406" y="2617958"/>
            <a:chExt cx="8506337" cy="621906"/>
          </a:xfrm>
        </p:grpSpPr>
        <p:sp>
          <p:nvSpPr>
            <p:cNvPr id="5" name="Rectangle 4"/>
            <p:cNvSpPr/>
            <p:nvPr/>
          </p:nvSpPr>
          <p:spPr>
            <a:xfrm>
              <a:off x="662699" y="2617958"/>
              <a:ext cx="8113044" cy="62190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230188"/>
              <a:r>
                <a:rPr lang="en-US" b="1" dirty="0">
                  <a:solidFill>
                    <a:schemeClr val="bg1"/>
                  </a:solidFill>
                  <a:latin typeface="+mj-lt"/>
                </a:rPr>
                <a:t>REST API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69406" y="2617958"/>
              <a:ext cx="399080" cy="62190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458788"/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337625" y="999649"/>
            <a:ext cx="8506337" cy="621906"/>
            <a:chOff x="276180" y="999649"/>
            <a:chExt cx="8494280" cy="621906"/>
          </a:xfrm>
        </p:grpSpPr>
        <p:sp>
          <p:nvSpPr>
            <p:cNvPr id="7" name="Rectangle 6"/>
            <p:cNvSpPr/>
            <p:nvPr/>
          </p:nvSpPr>
          <p:spPr>
            <a:xfrm>
              <a:off x="663240" y="999649"/>
              <a:ext cx="8107220" cy="62190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230188"/>
              <a:r>
                <a:rPr lang="en-US" b="1" dirty="0" err="1">
                  <a:solidFill>
                    <a:schemeClr val="bg1"/>
                  </a:solidFill>
                  <a:latin typeface="+mj-lt"/>
                </a:rPr>
                <a:t>NSUserDefault</a:t>
              </a:r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76180" y="999649"/>
              <a:ext cx="399754" cy="62190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458788"/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337626" y="1810026"/>
            <a:ext cx="8506336" cy="621906"/>
            <a:chOff x="285664" y="1779085"/>
            <a:chExt cx="8506336" cy="621906"/>
          </a:xfrm>
        </p:grpSpPr>
        <p:sp>
          <p:nvSpPr>
            <p:cNvPr id="9" name="Rectangle 8"/>
            <p:cNvSpPr/>
            <p:nvPr/>
          </p:nvSpPr>
          <p:spPr>
            <a:xfrm>
              <a:off x="687095" y="1779085"/>
              <a:ext cx="8104905" cy="62190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230188"/>
              <a:r>
                <a:rPr lang="en-US" b="1" dirty="0" err="1">
                  <a:solidFill>
                    <a:schemeClr val="bg1"/>
                  </a:solidFill>
                  <a:latin typeface="+mj-lt"/>
                </a:rPr>
                <a:t>CoreData</a:t>
              </a:r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85664" y="1779085"/>
              <a:ext cx="398198" cy="62190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458788"/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337626" y="3430780"/>
            <a:ext cx="8506337" cy="621906"/>
            <a:chOff x="264160" y="3430650"/>
            <a:chExt cx="8506337" cy="621906"/>
          </a:xfrm>
        </p:grpSpPr>
        <p:sp>
          <p:nvSpPr>
            <p:cNvPr id="11" name="Rectangle 10"/>
            <p:cNvSpPr/>
            <p:nvPr/>
          </p:nvSpPr>
          <p:spPr>
            <a:xfrm>
              <a:off x="657453" y="3430650"/>
              <a:ext cx="8113044" cy="62190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230188"/>
              <a:r>
                <a:rPr lang="en-US" b="1" dirty="0">
                  <a:solidFill>
                    <a:schemeClr val="bg1"/>
                  </a:solidFill>
                  <a:latin typeface="+mj-lt"/>
                </a:rPr>
                <a:t>MVVM Architecture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64160" y="3430650"/>
              <a:ext cx="399080" cy="62190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458788"/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337626" y="4241156"/>
            <a:ext cx="8506335" cy="621906"/>
            <a:chOff x="272181" y="4241156"/>
            <a:chExt cx="8506335" cy="621906"/>
          </a:xfrm>
        </p:grpSpPr>
        <p:sp>
          <p:nvSpPr>
            <p:cNvPr id="13" name="Rectangle 12"/>
            <p:cNvSpPr/>
            <p:nvPr/>
          </p:nvSpPr>
          <p:spPr>
            <a:xfrm>
              <a:off x="665473" y="4241156"/>
              <a:ext cx="8113043" cy="62190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230188"/>
              <a:r>
                <a:rPr lang="en-US" b="1" dirty="0" err="1">
                  <a:solidFill>
                    <a:schemeClr val="bg1"/>
                  </a:solidFill>
                  <a:latin typeface="+mj-lt"/>
                </a:rPr>
                <a:t>XCTest</a:t>
              </a:r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72181" y="4241156"/>
              <a:ext cx="399080" cy="62190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458788"/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2197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ivider Slide Sample</a:t>
            </a:r>
          </a:p>
        </p:txBody>
      </p:sp>
    </p:spTree>
    <p:extLst>
      <p:ext uri="{BB962C8B-B14F-4D97-AF65-F5344CB8AC3E}">
        <p14:creationId xmlns:p14="http://schemas.microsoft.com/office/powerpoint/2010/main" val="1603077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ivider Slide Sample</a:t>
            </a:r>
          </a:p>
        </p:txBody>
      </p:sp>
    </p:spTree>
    <p:extLst>
      <p:ext uri="{BB962C8B-B14F-4D97-AF65-F5344CB8AC3E}">
        <p14:creationId xmlns:p14="http://schemas.microsoft.com/office/powerpoint/2010/main" val="1863367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Example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337626" y="2620403"/>
            <a:ext cx="8506337" cy="621906"/>
            <a:chOff x="269406" y="2617958"/>
            <a:chExt cx="8506337" cy="621906"/>
          </a:xfrm>
        </p:grpSpPr>
        <p:sp>
          <p:nvSpPr>
            <p:cNvPr id="5" name="Rectangle 4"/>
            <p:cNvSpPr/>
            <p:nvPr/>
          </p:nvSpPr>
          <p:spPr>
            <a:xfrm>
              <a:off x="662699" y="2617958"/>
              <a:ext cx="8113044" cy="62190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230188"/>
              <a:r>
                <a:rPr lang="en-US" b="1" dirty="0">
                  <a:solidFill>
                    <a:schemeClr val="bg1"/>
                  </a:solidFill>
                  <a:latin typeface="+mj-lt"/>
                </a:rPr>
                <a:t>Third Topic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69406" y="2617958"/>
              <a:ext cx="399080" cy="62190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458788"/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337625" y="999649"/>
            <a:ext cx="8506337" cy="621906"/>
            <a:chOff x="276180" y="999649"/>
            <a:chExt cx="8494280" cy="621906"/>
          </a:xfrm>
        </p:grpSpPr>
        <p:sp>
          <p:nvSpPr>
            <p:cNvPr id="7" name="Rectangle 6"/>
            <p:cNvSpPr/>
            <p:nvPr/>
          </p:nvSpPr>
          <p:spPr>
            <a:xfrm>
              <a:off x="663240" y="999649"/>
              <a:ext cx="8107220" cy="62190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230188"/>
              <a:r>
                <a:rPr lang="en-US" b="1" dirty="0">
                  <a:solidFill>
                    <a:schemeClr val="bg1"/>
                  </a:solidFill>
                  <a:latin typeface="+mj-lt"/>
                </a:rPr>
                <a:t>First Topic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76180" y="999649"/>
              <a:ext cx="399754" cy="62190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458788"/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337626" y="1810026"/>
            <a:ext cx="8506336" cy="621906"/>
            <a:chOff x="285664" y="1779085"/>
            <a:chExt cx="8506336" cy="621906"/>
          </a:xfrm>
        </p:grpSpPr>
        <p:sp>
          <p:nvSpPr>
            <p:cNvPr id="9" name="Rectangle 8"/>
            <p:cNvSpPr/>
            <p:nvPr/>
          </p:nvSpPr>
          <p:spPr>
            <a:xfrm>
              <a:off x="687095" y="1779085"/>
              <a:ext cx="8104905" cy="62190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230188"/>
              <a:r>
                <a:rPr lang="en-US" b="1" dirty="0">
                  <a:solidFill>
                    <a:schemeClr val="bg1"/>
                  </a:solidFill>
                  <a:latin typeface="+mj-lt"/>
                </a:rPr>
                <a:t>Second Topic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85664" y="1779085"/>
              <a:ext cx="398198" cy="62190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458788"/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337626" y="3430780"/>
            <a:ext cx="8506337" cy="621906"/>
            <a:chOff x="264160" y="3430650"/>
            <a:chExt cx="8506337" cy="621906"/>
          </a:xfrm>
        </p:grpSpPr>
        <p:sp>
          <p:nvSpPr>
            <p:cNvPr id="11" name="Rectangle 10"/>
            <p:cNvSpPr/>
            <p:nvPr/>
          </p:nvSpPr>
          <p:spPr>
            <a:xfrm>
              <a:off x="657453" y="3430650"/>
              <a:ext cx="8113044" cy="62190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230188"/>
              <a:r>
                <a:rPr lang="en-US" b="1" dirty="0">
                  <a:solidFill>
                    <a:schemeClr val="bg1"/>
                  </a:solidFill>
                  <a:latin typeface="+mj-lt"/>
                </a:rPr>
                <a:t>Fourth Topic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64160" y="3430650"/>
              <a:ext cx="399080" cy="62190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458788"/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337626" y="4241156"/>
            <a:ext cx="8506335" cy="621906"/>
            <a:chOff x="272181" y="4241156"/>
            <a:chExt cx="8506335" cy="621906"/>
          </a:xfrm>
        </p:grpSpPr>
        <p:sp>
          <p:nvSpPr>
            <p:cNvPr id="13" name="Rectangle 12"/>
            <p:cNvSpPr/>
            <p:nvPr/>
          </p:nvSpPr>
          <p:spPr>
            <a:xfrm>
              <a:off x="665473" y="4241156"/>
              <a:ext cx="8113043" cy="62190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230188"/>
              <a:r>
                <a:rPr lang="en-US" b="1" dirty="0">
                  <a:solidFill>
                    <a:schemeClr val="bg1"/>
                  </a:solidFill>
                  <a:latin typeface="+mj-lt"/>
                </a:rPr>
                <a:t>Fifth Topic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72181" y="4241156"/>
              <a:ext cx="399080" cy="62190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 anchorCtr="0"/>
            <a:lstStyle/>
            <a:p>
              <a:pPr marL="458788"/>
              <a:endParaRPr lang="en-US" b="1" dirty="0">
                <a:solidFill>
                  <a:schemeClr val="bg1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5621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rix Example</a:t>
            </a:r>
          </a:p>
        </p:txBody>
      </p:sp>
      <p:graphicFrame>
        <p:nvGraphicFramePr>
          <p:cNvPr id="32" name="Group 634"/>
          <p:cNvGraphicFramePr>
            <a:graphicFrameLocks noGrp="1"/>
          </p:cNvGraphicFramePr>
          <p:nvPr/>
        </p:nvGraphicFramePr>
        <p:xfrm>
          <a:off x="1238286" y="1306833"/>
          <a:ext cx="6606540" cy="3251200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6522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22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497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522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648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0"/>
                        <a:cs typeface="Arial" charset="0"/>
                      </a:endParaRP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MAY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JUNE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JULY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35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WEEK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1    2    3    4    5    6    7    8    9    10    11    12    13</a:t>
                      </a:r>
                    </a:p>
                  </a:txBody>
                  <a:tcPr marL="73152" marR="73152" marT="36576" marB="36576" anchor="ctr" anchorCtr="1" horzOverflow="overflow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48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TASK 1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0"/>
                        <a:cs typeface="Arial" charset="0"/>
                      </a:endParaRP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48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TASK 2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0"/>
                        <a:cs typeface="Arial" charset="0"/>
                      </a:endParaRP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48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TASK 3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0"/>
                        <a:cs typeface="Arial" charset="0"/>
                      </a:endParaRP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35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TASK 4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0"/>
                        <a:cs typeface="Arial" charset="0"/>
                      </a:endParaRP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648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latin typeface="Arial" charset="0"/>
                          <a:ea typeface="ＭＳ Ｐゴシック" charset="0"/>
                          <a:cs typeface="Arial" charset="0"/>
                        </a:rPr>
                        <a:t>TASK 5</a:t>
                      </a: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ea typeface="ＭＳ Ｐゴシック" charset="0"/>
                        <a:cs typeface="Arial" charset="0"/>
                      </a:endParaRPr>
                    </a:p>
                  </a:txBody>
                  <a:tcPr marL="73152" marR="73152" marT="36576" marB="36576" anchor="ctr" anchorCtr="1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33" name="Rectangle 511"/>
          <p:cNvSpPr>
            <a:spLocks noChangeArrowheads="1"/>
          </p:cNvSpPr>
          <p:nvPr/>
        </p:nvSpPr>
        <p:spPr bwMode="gray">
          <a:xfrm>
            <a:off x="3316007" y="2297431"/>
            <a:ext cx="2171700" cy="336550"/>
          </a:xfrm>
          <a:prstGeom prst="rect">
            <a:avLst/>
          </a:prstGeom>
          <a:solidFill>
            <a:schemeClr val="accent2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73142" tIns="36571" rIns="73142" bIns="36571" anchor="ctr"/>
          <a:lstStyle/>
          <a:p>
            <a:pPr algn="l"/>
            <a:endParaRPr lang="en-US" dirty="0"/>
          </a:p>
        </p:txBody>
      </p:sp>
      <p:sp>
        <p:nvSpPr>
          <p:cNvPr id="34" name="Rectangle 512"/>
          <p:cNvSpPr>
            <a:spLocks noChangeArrowheads="1"/>
          </p:cNvSpPr>
          <p:nvPr/>
        </p:nvSpPr>
        <p:spPr bwMode="gray">
          <a:xfrm>
            <a:off x="4146587" y="2762251"/>
            <a:ext cx="2400300" cy="336550"/>
          </a:xfrm>
          <a:prstGeom prst="rect">
            <a:avLst/>
          </a:prstGeom>
          <a:solidFill>
            <a:schemeClr val="accent2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73142" tIns="36571" rIns="73142" bIns="36571" anchor="ctr"/>
          <a:lstStyle/>
          <a:p>
            <a:pPr algn="l"/>
            <a:endParaRPr lang="en-US" dirty="0"/>
          </a:p>
        </p:txBody>
      </p:sp>
      <p:sp>
        <p:nvSpPr>
          <p:cNvPr id="35" name="Rectangle 513"/>
          <p:cNvSpPr>
            <a:spLocks noChangeArrowheads="1"/>
          </p:cNvSpPr>
          <p:nvPr/>
        </p:nvSpPr>
        <p:spPr bwMode="gray">
          <a:xfrm>
            <a:off x="3742727" y="3227071"/>
            <a:ext cx="998220" cy="336550"/>
          </a:xfrm>
          <a:prstGeom prst="rect">
            <a:avLst/>
          </a:prstGeom>
          <a:solidFill>
            <a:schemeClr val="accent2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73142" tIns="36571" rIns="73142" bIns="36571" anchor="ctr"/>
          <a:lstStyle/>
          <a:p>
            <a:pPr algn="l"/>
            <a:endParaRPr lang="en-US" dirty="0"/>
          </a:p>
        </p:txBody>
      </p:sp>
      <p:sp>
        <p:nvSpPr>
          <p:cNvPr id="36" name="Rectangle 514"/>
          <p:cNvSpPr>
            <a:spLocks noChangeArrowheads="1"/>
          </p:cNvSpPr>
          <p:nvPr/>
        </p:nvSpPr>
        <p:spPr bwMode="gray">
          <a:xfrm>
            <a:off x="4641885" y="3691891"/>
            <a:ext cx="1158240" cy="336550"/>
          </a:xfrm>
          <a:prstGeom prst="rect">
            <a:avLst/>
          </a:prstGeom>
          <a:solidFill>
            <a:schemeClr val="accent2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73142" tIns="36571" rIns="73142" bIns="36571" anchor="ctr"/>
          <a:lstStyle/>
          <a:p>
            <a:pPr algn="l"/>
            <a:endParaRPr lang="en-US" dirty="0"/>
          </a:p>
        </p:txBody>
      </p:sp>
      <p:sp>
        <p:nvSpPr>
          <p:cNvPr id="37" name="Rectangle 515"/>
          <p:cNvSpPr>
            <a:spLocks noChangeArrowheads="1"/>
          </p:cNvSpPr>
          <p:nvPr/>
        </p:nvSpPr>
        <p:spPr bwMode="gray">
          <a:xfrm>
            <a:off x="7065047" y="4156711"/>
            <a:ext cx="723900" cy="336550"/>
          </a:xfrm>
          <a:prstGeom prst="rect">
            <a:avLst/>
          </a:prstGeom>
          <a:solidFill>
            <a:schemeClr val="accent2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73142" tIns="36571" rIns="73142" bIns="36571" anchor="ctr"/>
          <a:lstStyle/>
          <a:p>
            <a:pPr algn="l"/>
            <a:endParaRPr lang="en-US" dirty="0"/>
          </a:p>
        </p:txBody>
      </p:sp>
      <p:sp>
        <p:nvSpPr>
          <p:cNvPr id="38" name="Rectangle 516"/>
          <p:cNvSpPr>
            <a:spLocks noChangeArrowheads="1"/>
          </p:cNvSpPr>
          <p:nvPr/>
        </p:nvSpPr>
        <p:spPr bwMode="gray">
          <a:xfrm>
            <a:off x="5579147" y="3227071"/>
            <a:ext cx="2004060" cy="336550"/>
          </a:xfrm>
          <a:prstGeom prst="rect">
            <a:avLst/>
          </a:prstGeom>
          <a:solidFill>
            <a:schemeClr val="accent2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73142" tIns="36571" rIns="73142" bIns="36571" anchor="ctr"/>
          <a:lstStyle/>
          <a:p>
            <a:pPr algn="l"/>
            <a:endParaRPr lang="en-US" dirty="0"/>
          </a:p>
        </p:txBody>
      </p:sp>
      <p:sp>
        <p:nvSpPr>
          <p:cNvPr id="39" name="Rectangle 557"/>
          <p:cNvSpPr>
            <a:spLocks noChangeArrowheads="1"/>
          </p:cNvSpPr>
          <p:nvPr/>
        </p:nvSpPr>
        <p:spPr bwMode="gray">
          <a:xfrm>
            <a:off x="6569745" y="3691891"/>
            <a:ext cx="1158240" cy="336550"/>
          </a:xfrm>
          <a:prstGeom prst="rect">
            <a:avLst/>
          </a:prstGeom>
          <a:solidFill>
            <a:schemeClr val="accent2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73142" tIns="36571" rIns="73142" bIns="36571" anchor="ctr"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9339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p Example</a:t>
            </a:r>
          </a:p>
        </p:txBody>
      </p:sp>
      <p:grpSp>
        <p:nvGrpSpPr>
          <p:cNvPr id="84" name="Group 83"/>
          <p:cNvGrpSpPr/>
          <p:nvPr/>
        </p:nvGrpSpPr>
        <p:grpSpPr>
          <a:xfrm>
            <a:off x="407996" y="989721"/>
            <a:ext cx="8167687" cy="3947819"/>
            <a:chOff x="379413" y="1706562"/>
            <a:chExt cx="8388350" cy="4054476"/>
          </a:xfrm>
          <a:pattFill prst="wdUpDiag">
            <a:fgClr>
              <a:schemeClr val="bg1">
                <a:lumMod val="95000"/>
              </a:schemeClr>
            </a:fgClr>
            <a:bgClr>
              <a:schemeClr val="bg1">
                <a:lumMod val="85000"/>
              </a:schemeClr>
            </a:bgClr>
          </a:pattFill>
          <a:effectLst>
            <a:outerShdw blurRad="177800" algn="ctr" rotWithShape="0">
              <a:schemeClr val="bg1"/>
            </a:outerShdw>
          </a:effectLst>
        </p:grpSpPr>
        <p:sp>
          <p:nvSpPr>
            <p:cNvPr id="85" name="Freeform 6"/>
            <p:cNvSpPr>
              <a:spLocks/>
            </p:cNvSpPr>
            <p:nvPr/>
          </p:nvSpPr>
          <p:spPr bwMode="auto">
            <a:xfrm>
              <a:off x="379413" y="2744788"/>
              <a:ext cx="88900" cy="28575"/>
            </a:xfrm>
            <a:custGeom>
              <a:avLst/>
              <a:gdLst>
                <a:gd name="T0" fmla="*/ 99 w 158"/>
                <a:gd name="T1" fmla="*/ 4 h 50"/>
                <a:gd name="T2" fmla="*/ 7 w 158"/>
                <a:gd name="T3" fmla="*/ 21 h 50"/>
                <a:gd name="T4" fmla="*/ 74 w 158"/>
                <a:gd name="T5" fmla="*/ 50 h 50"/>
                <a:gd name="T6" fmla="*/ 148 w 158"/>
                <a:gd name="T7" fmla="*/ 25 h 50"/>
                <a:gd name="T8" fmla="*/ 99 w 158"/>
                <a:gd name="T9" fmla="*/ 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50">
                  <a:moveTo>
                    <a:pt x="99" y="4"/>
                  </a:moveTo>
                  <a:cubicBezTo>
                    <a:pt x="56" y="0"/>
                    <a:pt x="14" y="4"/>
                    <a:pt x="7" y="21"/>
                  </a:cubicBezTo>
                  <a:cubicBezTo>
                    <a:pt x="0" y="37"/>
                    <a:pt x="46" y="50"/>
                    <a:pt x="74" y="50"/>
                  </a:cubicBezTo>
                  <a:cubicBezTo>
                    <a:pt x="102" y="50"/>
                    <a:pt x="158" y="29"/>
                    <a:pt x="148" y="25"/>
                  </a:cubicBezTo>
                  <a:cubicBezTo>
                    <a:pt x="137" y="21"/>
                    <a:pt x="99" y="4"/>
                    <a:pt x="99" y="4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3" name="Freeform 7"/>
            <p:cNvSpPr>
              <a:spLocks noEditPoints="1"/>
            </p:cNvSpPr>
            <p:nvPr/>
          </p:nvSpPr>
          <p:spPr bwMode="auto">
            <a:xfrm>
              <a:off x="550863" y="2038350"/>
              <a:ext cx="3149600" cy="3722688"/>
            </a:xfrm>
            <a:custGeom>
              <a:avLst/>
              <a:gdLst>
                <a:gd name="T0" fmla="*/ 4939 w 5544"/>
                <a:gd name="T1" fmla="*/ 3942 h 6550"/>
                <a:gd name="T2" fmla="*/ 4921 w 5544"/>
                <a:gd name="T3" fmla="*/ 3763 h 6550"/>
                <a:gd name="T4" fmla="*/ 4532 w 5544"/>
                <a:gd name="T5" fmla="*/ 3424 h 6550"/>
                <a:gd name="T6" fmla="*/ 4304 w 5544"/>
                <a:gd name="T7" fmla="*/ 3287 h 6550"/>
                <a:gd name="T8" fmla="*/ 3999 w 5544"/>
                <a:gd name="T9" fmla="*/ 3284 h 6550"/>
                <a:gd name="T10" fmla="*/ 3511 w 5544"/>
                <a:gd name="T11" fmla="*/ 3287 h 6550"/>
                <a:gd name="T12" fmla="*/ 3324 w 5544"/>
                <a:gd name="T13" fmla="*/ 2930 h 6550"/>
                <a:gd name="T14" fmla="*/ 2927 w 5544"/>
                <a:gd name="T15" fmla="*/ 2738 h 6550"/>
                <a:gd name="T16" fmla="*/ 3048 w 5544"/>
                <a:gd name="T17" fmla="*/ 2381 h 6550"/>
                <a:gd name="T18" fmla="*/ 3645 w 5544"/>
                <a:gd name="T19" fmla="*/ 2464 h 6550"/>
                <a:gd name="T20" fmla="*/ 3847 w 5544"/>
                <a:gd name="T21" fmla="*/ 2063 h 6550"/>
                <a:gd name="T22" fmla="*/ 4071 w 5544"/>
                <a:gd name="T23" fmla="*/ 1777 h 6550"/>
                <a:gd name="T24" fmla="*/ 4480 w 5544"/>
                <a:gd name="T25" fmla="*/ 1558 h 6550"/>
                <a:gd name="T26" fmla="*/ 4140 w 5544"/>
                <a:gd name="T27" fmla="*/ 1454 h 6550"/>
                <a:gd name="T28" fmla="*/ 4447 w 5544"/>
                <a:gd name="T29" fmla="*/ 1341 h 6550"/>
                <a:gd name="T30" fmla="*/ 4777 w 5544"/>
                <a:gd name="T31" fmla="*/ 1466 h 6550"/>
                <a:gd name="T32" fmla="*/ 4530 w 5544"/>
                <a:gd name="T33" fmla="*/ 1091 h 6550"/>
                <a:gd name="T34" fmla="*/ 4097 w 5544"/>
                <a:gd name="T35" fmla="*/ 872 h 6550"/>
                <a:gd name="T36" fmla="*/ 3713 w 5544"/>
                <a:gd name="T37" fmla="*/ 1091 h 6550"/>
                <a:gd name="T38" fmla="*/ 3548 w 5544"/>
                <a:gd name="T39" fmla="*/ 1091 h 6550"/>
                <a:gd name="T40" fmla="*/ 3089 w 5544"/>
                <a:gd name="T41" fmla="*/ 872 h 6550"/>
                <a:gd name="T42" fmla="*/ 3645 w 5544"/>
                <a:gd name="T43" fmla="*/ 680 h 6550"/>
                <a:gd name="T44" fmla="*/ 3586 w 5544"/>
                <a:gd name="T45" fmla="*/ 460 h 6550"/>
                <a:gd name="T46" fmla="*/ 3848 w 5544"/>
                <a:gd name="T47" fmla="*/ 535 h 6550"/>
                <a:gd name="T48" fmla="*/ 3728 w 5544"/>
                <a:gd name="T49" fmla="*/ 614 h 6550"/>
                <a:gd name="T50" fmla="*/ 4312 w 5544"/>
                <a:gd name="T51" fmla="*/ 763 h 6550"/>
                <a:gd name="T52" fmla="*/ 4424 w 5544"/>
                <a:gd name="T53" fmla="*/ 597 h 6550"/>
                <a:gd name="T54" fmla="*/ 3874 w 5544"/>
                <a:gd name="T55" fmla="*/ 268 h 6550"/>
                <a:gd name="T56" fmla="*/ 3418 w 5544"/>
                <a:gd name="T57" fmla="*/ 456 h 6550"/>
                <a:gd name="T58" fmla="*/ 3105 w 5544"/>
                <a:gd name="T59" fmla="*/ 306 h 6550"/>
                <a:gd name="T60" fmla="*/ 2904 w 5544"/>
                <a:gd name="T61" fmla="*/ 495 h 6550"/>
                <a:gd name="T62" fmla="*/ 2657 w 5544"/>
                <a:gd name="T63" fmla="*/ 219 h 6550"/>
                <a:gd name="T64" fmla="*/ 2392 w 5544"/>
                <a:gd name="T65" fmla="*/ 98 h 6550"/>
                <a:gd name="T66" fmla="*/ 2343 w 5544"/>
                <a:gd name="T67" fmla="*/ 194 h 6550"/>
                <a:gd name="T68" fmla="*/ 2098 w 5544"/>
                <a:gd name="T69" fmla="*/ 156 h 6550"/>
                <a:gd name="T70" fmla="*/ 2011 w 5544"/>
                <a:gd name="T71" fmla="*/ 405 h 6550"/>
                <a:gd name="T72" fmla="*/ 1351 w 5544"/>
                <a:gd name="T73" fmla="*/ 389 h 6550"/>
                <a:gd name="T74" fmla="*/ 555 w 5544"/>
                <a:gd name="T75" fmla="*/ 323 h 6550"/>
                <a:gd name="T76" fmla="*/ 271 w 5544"/>
                <a:gd name="T77" fmla="*/ 597 h 6550"/>
                <a:gd name="T78" fmla="*/ 199 w 5544"/>
                <a:gd name="T79" fmla="*/ 895 h 6550"/>
                <a:gd name="T80" fmla="*/ 269 w 5544"/>
                <a:gd name="T81" fmla="*/ 1066 h 6550"/>
                <a:gd name="T82" fmla="*/ 646 w 5544"/>
                <a:gd name="T83" fmla="*/ 1009 h 6550"/>
                <a:gd name="T84" fmla="*/ 869 w 5544"/>
                <a:gd name="T85" fmla="*/ 822 h 6550"/>
                <a:gd name="T86" fmla="*/ 1644 w 5544"/>
                <a:gd name="T87" fmla="*/ 1308 h 6550"/>
                <a:gd name="T88" fmla="*/ 2453 w 5544"/>
                <a:gd name="T89" fmla="*/ 2694 h 6550"/>
                <a:gd name="T90" fmla="*/ 2281 w 5544"/>
                <a:gd name="T91" fmla="*/ 2344 h 6550"/>
                <a:gd name="T92" fmla="*/ 3334 w 5544"/>
                <a:gd name="T93" fmla="*/ 3189 h 6550"/>
                <a:gd name="T94" fmla="*/ 3682 w 5544"/>
                <a:gd name="T95" fmla="*/ 4183 h 6550"/>
                <a:gd name="T96" fmla="*/ 3925 w 5544"/>
                <a:gd name="T97" fmla="*/ 5917 h 6550"/>
                <a:gd name="T98" fmla="*/ 4203 w 5544"/>
                <a:gd name="T99" fmla="*/ 6529 h 6550"/>
                <a:gd name="T100" fmla="*/ 4251 w 5544"/>
                <a:gd name="T101" fmla="*/ 6169 h 6550"/>
                <a:gd name="T102" fmla="*/ 4358 w 5544"/>
                <a:gd name="T103" fmla="*/ 5838 h 6550"/>
                <a:gd name="T104" fmla="*/ 4622 w 5544"/>
                <a:gd name="T105" fmla="*/ 5572 h 6550"/>
                <a:gd name="T106" fmla="*/ 4882 w 5544"/>
                <a:gd name="T107" fmla="*/ 5299 h 6550"/>
                <a:gd name="T108" fmla="*/ 5254 w 5544"/>
                <a:gd name="T109" fmla="*/ 4934 h 6550"/>
                <a:gd name="T110" fmla="*/ 5359 w 5544"/>
                <a:gd name="T111" fmla="*/ 4522 h 6550"/>
                <a:gd name="T112" fmla="*/ 3354 w 5544"/>
                <a:gd name="T113" fmla="*/ 1640 h 6550"/>
                <a:gd name="T114" fmla="*/ 3576 w 5544"/>
                <a:gd name="T115" fmla="*/ 1695 h 6550"/>
                <a:gd name="T116" fmla="*/ 3360 w 5544"/>
                <a:gd name="T117" fmla="*/ 1695 h 6550"/>
                <a:gd name="T118" fmla="*/ 3830 w 5544"/>
                <a:gd name="T119" fmla="*/ 1633 h 6550"/>
                <a:gd name="T120" fmla="*/ 1886 w 5544"/>
                <a:gd name="T121" fmla="*/ 1483 h 6550"/>
                <a:gd name="T122" fmla="*/ 4565 w 5544"/>
                <a:gd name="T123" fmla="*/ 5400 h 6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544" h="6550">
                  <a:moveTo>
                    <a:pt x="5538" y="4162"/>
                  </a:moveTo>
                  <a:cubicBezTo>
                    <a:pt x="5536" y="4145"/>
                    <a:pt x="5529" y="4127"/>
                    <a:pt x="5519" y="4110"/>
                  </a:cubicBezTo>
                  <a:cubicBezTo>
                    <a:pt x="5528" y="4110"/>
                    <a:pt x="5528" y="4110"/>
                    <a:pt x="5528" y="4110"/>
                  </a:cubicBezTo>
                  <a:cubicBezTo>
                    <a:pt x="5514" y="4084"/>
                    <a:pt x="5493" y="4062"/>
                    <a:pt x="5477" y="4054"/>
                  </a:cubicBezTo>
                  <a:cubicBezTo>
                    <a:pt x="5461" y="4045"/>
                    <a:pt x="5431" y="4041"/>
                    <a:pt x="5407" y="4028"/>
                  </a:cubicBezTo>
                  <a:cubicBezTo>
                    <a:pt x="5393" y="4028"/>
                    <a:pt x="5393" y="4028"/>
                    <a:pt x="5393" y="4028"/>
                  </a:cubicBezTo>
                  <a:cubicBezTo>
                    <a:pt x="5385" y="4023"/>
                    <a:pt x="5377" y="4016"/>
                    <a:pt x="5372" y="4008"/>
                  </a:cubicBezTo>
                  <a:cubicBezTo>
                    <a:pt x="5364" y="3996"/>
                    <a:pt x="5351" y="3983"/>
                    <a:pt x="5337" y="3973"/>
                  </a:cubicBezTo>
                  <a:cubicBezTo>
                    <a:pt x="5349" y="3973"/>
                    <a:pt x="5349" y="3973"/>
                    <a:pt x="5349" y="3973"/>
                  </a:cubicBezTo>
                  <a:cubicBezTo>
                    <a:pt x="5323" y="3954"/>
                    <a:pt x="5291" y="3940"/>
                    <a:pt x="5277" y="3946"/>
                  </a:cubicBezTo>
                  <a:cubicBezTo>
                    <a:pt x="5256" y="3954"/>
                    <a:pt x="5220" y="3962"/>
                    <a:pt x="5192" y="3941"/>
                  </a:cubicBezTo>
                  <a:cubicBezTo>
                    <a:pt x="5170" y="3925"/>
                    <a:pt x="5137" y="3906"/>
                    <a:pt x="5116" y="3891"/>
                  </a:cubicBezTo>
                  <a:cubicBezTo>
                    <a:pt x="5103" y="3891"/>
                    <a:pt x="5103" y="3891"/>
                    <a:pt x="5103" y="3891"/>
                  </a:cubicBezTo>
                  <a:cubicBezTo>
                    <a:pt x="5100" y="3888"/>
                    <a:pt x="5097" y="3886"/>
                    <a:pt x="5094" y="3883"/>
                  </a:cubicBezTo>
                  <a:cubicBezTo>
                    <a:pt x="5076" y="3867"/>
                    <a:pt x="5031" y="3854"/>
                    <a:pt x="5010" y="3854"/>
                  </a:cubicBezTo>
                  <a:cubicBezTo>
                    <a:pt x="4988" y="3854"/>
                    <a:pt x="4992" y="3838"/>
                    <a:pt x="4960" y="3888"/>
                  </a:cubicBezTo>
                  <a:cubicBezTo>
                    <a:pt x="4942" y="3917"/>
                    <a:pt x="4945" y="3934"/>
                    <a:pt x="4939" y="3942"/>
                  </a:cubicBezTo>
                  <a:cubicBezTo>
                    <a:pt x="4934" y="3944"/>
                    <a:pt x="4925" y="3944"/>
                    <a:pt x="4911" y="3941"/>
                  </a:cubicBezTo>
                  <a:cubicBezTo>
                    <a:pt x="4885" y="3938"/>
                    <a:pt x="4884" y="3935"/>
                    <a:pt x="4894" y="3928"/>
                  </a:cubicBezTo>
                  <a:cubicBezTo>
                    <a:pt x="4897" y="3926"/>
                    <a:pt x="4900" y="3924"/>
                    <a:pt x="4904" y="3921"/>
                  </a:cubicBezTo>
                  <a:cubicBezTo>
                    <a:pt x="4915" y="3914"/>
                    <a:pt x="4928" y="3905"/>
                    <a:pt x="4940" y="3891"/>
                  </a:cubicBezTo>
                  <a:cubicBezTo>
                    <a:pt x="4937" y="3891"/>
                    <a:pt x="4937" y="3891"/>
                    <a:pt x="4937" y="3891"/>
                  </a:cubicBezTo>
                  <a:cubicBezTo>
                    <a:pt x="4939" y="3888"/>
                    <a:pt x="4941" y="3886"/>
                    <a:pt x="4943" y="3883"/>
                  </a:cubicBezTo>
                  <a:cubicBezTo>
                    <a:pt x="4955" y="3864"/>
                    <a:pt x="4957" y="3848"/>
                    <a:pt x="4953" y="3836"/>
                  </a:cubicBezTo>
                  <a:cubicBezTo>
                    <a:pt x="4961" y="3836"/>
                    <a:pt x="4961" y="3836"/>
                    <a:pt x="4961" y="3836"/>
                  </a:cubicBezTo>
                  <a:cubicBezTo>
                    <a:pt x="4956" y="3814"/>
                    <a:pt x="4934" y="3804"/>
                    <a:pt x="4911" y="3813"/>
                  </a:cubicBezTo>
                  <a:cubicBezTo>
                    <a:pt x="4904" y="3815"/>
                    <a:pt x="4901" y="3817"/>
                    <a:pt x="4897" y="3820"/>
                  </a:cubicBezTo>
                  <a:cubicBezTo>
                    <a:pt x="4873" y="3833"/>
                    <a:pt x="4889" y="3855"/>
                    <a:pt x="4837" y="3867"/>
                  </a:cubicBezTo>
                  <a:cubicBezTo>
                    <a:pt x="4790" y="3877"/>
                    <a:pt x="4783" y="3850"/>
                    <a:pt x="4802" y="3836"/>
                  </a:cubicBezTo>
                  <a:cubicBezTo>
                    <a:pt x="4803" y="3836"/>
                    <a:pt x="4803" y="3836"/>
                    <a:pt x="4803" y="3836"/>
                  </a:cubicBezTo>
                  <a:cubicBezTo>
                    <a:pt x="4804" y="3835"/>
                    <a:pt x="4806" y="3834"/>
                    <a:pt x="4807" y="3833"/>
                  </a:cubicBezTo>
                  <a:cubicBezTo>
                    <a:pt x="4810" y="3831"/>
                    <a:pt x="4813" y="3830"/>
                    <a:pt x="4816" y="3829"/>
                  </a:cubicBezTo>
                  <a:cubicBezTo>
                    <a:pt x="4835" y="3825"/>
                    <a:pt x="4862" y="3812"/>
                    <a:pt x="4884" y="3798"/>
                  </a:cubicBezTo>
                  <a:cubicBezTo>
                    <a:pt x="4904" y="3785"/>
                    <a:pt x="4921" y="3771"/>
                    <a:pt x="4921" y="3763"/>
                  </a:cubicBezTo>
                  <a:cubicBezTo>
                    <a:pt x="4921" y="3760"/>
                    <a:pt x="4921" y="3757"/>
                    <a:pt x="4921" y="3754"/>
                  </a:cubicBezTo>
                  <a:cubicBezTo>
                    <a:pt x="4913" y="3754"/>
                    <a:pt x="4913" y="3754"/>
                    <a:pt x="4913" y="3754"/>
                  </a:cubicBezTo>
                  <a:cubicBezTo>
                    <a:pt x="4911" y="3733"/>
                    <a:pt x="4902" y="3705"/>
                    <a:pt x="4879" y="3705"/>
                  </a:cubicBezTo>
                  <a:cubicBezTo>
                    <a:pt x="4873" y="3705"/>
                    <a:pt x="4869" y="3702"/>
                    <a:pt x="4865" y="3699"/>
                  </a:cubicBezTo>
                  <a:cubicBezTo>
                    <a:pt x="4878" y="3699"/>
                    <a:pt x="4878" y="3699"/>
                    <a:pt x="4878" y="3699"/>
                  </a:cubicBezTo>
                  <a:cubicBezTo>
                    <a:pt x="4861" y="3692"/>
                    <a:pt x="4860" y="3659"/>
                    <a:pt x="4831" y="3616"/>
                  </a:cubicBezTo>
                  <a:cubicBezTo>
                    <a:pt x="4821" y="3616"/>
                    <a:pt x="4821" y="3616"/>
                    <a:pt x="4821" y="3616"/>
                  </a:cubicBezTo>
                  <a:cubicBezTo>
                    <a:pt x="4819" y="3614"/>
                    <a:pt x="4818" y="3611"/>
                    <a:pt x="4816" y="3609"/>
                  </a:cubicBezTo>
                  <a:cubicBezTo>
                    <a:pt x="4804" y="3593"/>
                    <a:pt x="4790" y="3577"/>
                    <a:pt x="4775" y="3561"/>
                  </a:cubicBezTo>
                  <a:cubicBezTo>
                    <a:pt x="4786" y="3561"/>
                    <a:pt x="4786" y="3561"/>
                    <a:pt x="4786" y="3561"/>
                  </a:cubicBezTo>
                  <a:cubicBezTo>
                    <a:pt x="4750" y="3523"/>
                    <a:pt x="4709" y="3491"/>
                    <a:pt x="4678" y="3498"/>
                  </a:cubicBezTo>
                  <a:cubicBezTo>
                    <a:pt x="4635" y="3506"/>
                    <a:pt x="4611" y="3546"/>
                    <a:pt x="4590" y="3501"/>
                  </a:cubicBezTo>
                  <a:cubicBezTo>
                    <a:pt x="4586" y="3492"/>
                    <a:pt x="4582" y="3485"/>
                    <a:pt x="4578" y="3479"/>
                  </a:cubicBezTo>
                  <a:cubicBezTo>
                    <a:pt x="4569" y="3479"/>
                    <a:pt x="4569" y="3479"/>
                    <a:pt x="4569" y="3479"/>
                  </a:cubicBezTo>
                  <a:cubicBezTo>
                    <a:pt x="4552" y="3455"/>
                    <a:pt x="4535" y="3445"/>
                    <a:pt x="4524" y="3426"/>
                  </a:cubicBezTo>
                  <a:cubicBezTo>
                    <a:pt x="4523" y="3425"/>
                    <a:pt x="4523" y="3425"/>
                    <a:pt x="4522" y="3424"/>
                  </a:cubicBezTo>
                  <a:cubicBezTo>
                    <a:pt x="4532" y="3424"/>
                    <a:pt x="4532" y="3424"/>
                    <a:pt x="4532" y="3424"/>
                  </a:cubicBezTo>
                  <a:cubicBezTo>
                    <a:pt x="4532" y="3423"/>
                    <a:pt x="4531" y="3423"/>
                    <a:pt x="4530" y="3422"/>
                  </a:cubicBezTo>
                  <a:cubicBezTo>
                    <a:pt x="4516" y="3397"/>
                    <a:pt x="4481" y="3422"/>
                    <a:pt x="4470" y="3409"/>
                  </a:cubicBezTo>
                  <a:cubicBezTo>
                    <a:pt x="4460" y="3397"/>
                    <a:pt x="4460" y="3397"/>
                    <a:pt x="4460" y="3397"/>
                  </a:cubicBezTo>
                  <a:cubicBezTo>
                    <a:pt x="4460" y="3397"/>
                    <a:pt x="4414" y="3409"/>
                    <a:pt x="4439" y="3372"/>
                  </a:cubicBezTo>
                  <a:cubicBezTo>
                    <a:pt x="4444" y="3363"/>
                    <a:pt x="4449" y="3353"/>
                    <a:pt x="4453" y="3342"/>
                  </a:cubicBezTo>
                  <a:cubicBezTo>
                    <a:pt x="4448" y="3342"/>
                    <a:pt x="4448" y="3342"/>
                    <a:pt x="4448" y="3342"/>
                  </a:cubicBezTo>
                  <a:cubicBezTo>
                    <a:pt x="4456" y="3322"/>
                    <a:pt x="4460" y="3301"/>
                    <a:pt x="4461" y="3287"/>
                  </a:cubicBezTo>
                  <a:cubicBezTo>
                    <a:pt x="4467" y="3287"/>
                    <a:pt x="4467" y="3287"/>
                    <a:pt x="4467" y="3287"/>
                  </a:cubicBezTo>
                  <a:cubicBezTo>
                    <a:pt x="4468" y="3274"/>
                    <a:pt x="4467" y="3266"/>
                    <a:pt x="4463" y="3268"/>
                  </a:cubicBezTo>
                  <a:cubicBezTo>
                    <a:pt x="4462" y="3268"/>
                    <a:pt x="4460" y="3270"/>
                    <a:pt x="4458" y="3273"/>
                  </a:cubicBezTo>
                  <a:cubicBezTo>
                    <a:pt x="4458" y="3272"/>
                    <a:pt x="4458" y="3272"/>
                    <a:pt x="4457" y="3272"/>
                  </a:cubicBezTo>
                  <a:cubicBezTo>
                    <a:pt x="4446" y="3276"/>
                    <a:pt x="4429" y="3334"/>
                    <a:pt x="4411" y="3330"/>
                  </a:cubicBezTo>
                  <a:cubicBezTo>
                    <a:pt x="4393" y="3326"/>
                    <a:pt x="4408" y="3318"/>
                    <a:pt x="4372" y="3293"/>
                  </a:cubicBezTo>
                  <a:cubicBezTo>
                    <a:pt x="4369" y="3290"/>
                    <a:pt x="4365" y="3289"/>
                    <a:pt x="4362" y="3287"/>
                  </a:cubicBezTo>
                  <a:cubicBezTo>
                    <a:pt x="4376" y="3287"/>
                    <a:pt x="4376" y="3287"/>
                    <a:pt x="4376" y="3287"/>
                  </a:cubicBezTo>
                  <a:cubicBezTo>
                    <a:pt x="4352" y="3272"/>
                    <a:pt x="4320" y="3276"/>
                    <a:pt x="4302" y="3287"/>
                  </a:cubicBezTo>
                  <a:cubicBezTo>
                    <a:pt x="4304" y="3287"/>
                    <a:pt x="4304" y="3287"/>
                    <a:pt x="4304" y="3287"/>
                  </a:cubicBezTo>
                  <a:cubicBezTo>
                    <a:pt x="4291" y="3292"/>
                    <a:pt x="4281" y="3301"/>
                    <a:pt x="4281" y="3309"/>
                  </a:cubicBezTo>
                  <a:cubicBezTo>
                    <a:pt x="4281" y="3324"/>
                    <a:pt x="4273" y="3336"/>
                    <a:pt x="4267" y="3342"/>
                  </a:cubicBezTo>
                  <a:cubicBezTo>
                    <a:pt x="4260" y="3342"/>
                    <a:pt x="4260" y="3342"/>
                    <a:pt x="4260" y="3342"/>
                  </a:cubicBezTo>
                  <a:cubicBezTo>
                    <a:pt x="4256" y="3336"/>
                    <a:pt x="4249" y="3326"/>
                    <a:pt x="4242" y="3309"/>
                  </a:cubicBezTo>
                  <a:cubicBezTo>
                    <a:pt x="4232" y="3284"/>
                    <a:pt x="4182" y="3280"/>
                    <a:pt x="4158" y="3305"/>
                  </a:cubicBezTo>
                  <a:cubicBezTo>
                    <a:pt x="4146" y="3317"/>
                    <a:pt x="4137" y="3304"/>
                    <a:pt x="4129" y="3287"/>
                  </a:cubicBezTo>
                  <a:cubicBezTo>
                    <a:pt x="4137" y="3287"/>
                    <a:pt x="4137" y="3287"/>
                    <a:pt x="4137" y="3287"/>
                  </a:cubicBezTo>
                  <a:cubicBezTo>
                    <a:pt x="4127" y="3267"/>
                    <a:pt x="4118" y="3238"/>
                    <a:pt x="4108" y="3238"/>
                  </a:cubicBezTo>
                  <a:cubicBezTo>
                    <a:pt x="4100" y="3238"/>
                    <a:pt x="4088" y="3243"/>
                    <a:pt x="4076" y="3252"/>
                  </a:cubicBezTo>
                  <a:cubicBezTo>
                    <a:pt x="4059" y="3262"/>
                    <a:pt x="4042" y="3278"/>
                    <a:pt x="4031" y="3301"/>
                  </a:cubicBezTo>
                  <a:cubicBezTo>
                    <a:pt x="4017" y="3331"/>
                    <a:pt x="4018" y="3371"/>
                    <a:pt x="4012" y="3384"/>
                  </a:cubicBezTo>
                  <a:cubicBezTo>
                    <a:pt x="4006" y="3381"/>
                    <a:pt x="4001" y="3363"/>
                    <a:pt x="3999" y="3342"/>
                  </a:cubicBezTo>
                  <a:cubicBezTo>
                    <a:pt x="3992" y="3342"/>
                    <a:pt x="3992" y="3342"/>
                    <a:pt x="3992" y="3342"/>
                  </a:cubicBezTo>
                  <a:cubicBezTo>
                    <a:pt x="3990" y="3322"/>
                    <a:pt x="3990" y="3300"/>
                    <a:pt x="3992" y="3288"/>
                  </a:cubicBezTo>
                  <a:cubicBezTo>
                    <a:pt x="3992" y="3288"/>
                    <a:pt x="3992" y="3287"/>
                    <a:pt x="3993" y="3287"/>
                  </a:cubicBezTo>
                  <a:cubicBezTo>
                    <a:pt x="3998" y="3287"/>
                    <a:pt x="3998" y="3287"/>
                    <a:pt x="3998" y="3287"/>
                  </a:cubicBezTo>
                  <a:cubicBezTo>
                    <a:pt x="3999" y="3286"/>
                    <a:pt x="3999" y="3285"/>
                    <a:pt x="3999" y="3284"/>
                  </a:cubicBezTo>
                  <a:cubicBezTo>
                    <a:pt x="4002" y="3259"/>
                    <a:pt x="4041" y="3218"/>
                    <a:pt x="4013" y="3209"/>
                  </a:cubicBezTo>
                  <a:cubicBezTo>
                    <a:pt x="4001" y="3206"/>
                    <a:pt x="3986" y="3213"/>
                    <a:pt x="3972" y="3222"/>
                  </a:cubicBezTo>
                  <a:cubicBezTo>
                    <a:pt x="3957" y="3231"/>
                    <a:pt x="3943" y="3244"/>
                    <a:pt x="3931" y="3252"/>
                  </a:cubicBezTo>
                  <a:cubicBezTo>
                    <a:pt x="3929" y="3253"/>
                    <a:pt x="3927" y="3255"/>
                    <a:pt x="3925" y="3255"/>
                  </a:cubicBezTo>
                  <a:cubicBezTo>
                    <a:pt x="3919" y="3256"/>
                    <a:pt x="3912" y="3260"/>
                    <a:pt x="3904" y="3266"/>
                  </a:cubicBezTo>
                  <a:cubicBezTo>
                    <a:pt x="3886" y="3277"/>
                    <a:pt x="3861" y="3300"/>
                    <a:pt x="3844" y="3326"/>
                  </a:cubicBezTo>
                  <a:cubicBezTo>
                    <a:pt x="3825" y="3357"/>
                    <a:pt x="3814" y="3377"/>
                    <a:pt x="3796" y="3389"/>
                  </a:cubicBezTo>
                  <a:cubicBezTo>
                    <a:pt x="3775" y="3400"/>
                    <a:pt x="3745" y="3388"/>
                    <a:pt x="3752" y="3376"/>
                  </a:cubicBezTo>
                  <a:cubicBezTo>
                    <a:pt x="3756" y="3369"/>
                    <a:pt x="3739" y="3353"/>
                    <a:pt x="3720" y="3342"/>
                  </a:cubicBezTo>
                  <a:cubicBezTo>
                    <a:pt x="3706" y="3342"/>
                    <a:pt x="3706" y="3342"/>
                    <a:pt x="3706" y="3342"/>
                  </a:cubicBezTo>
                  <a:cubicBezTo>
                    <a:pt x="3692" y="3335"/>
                    <a:pt x="3679" y="3332"/>
                    <a:pt x="3675" y="3338"/>
                  </a:cubicBezTo>
                  <a:cubicBezTo>
                    <a:pt x="3673" y="3342"/>
                    <a:pt x="3669" y="3345"/>
                    <a:pt x="3665" y="3349"/>
                  </a:cubicBezTo>
                  <a:cubicBezTo>
                    <a:pt x="3650" y="3359"/>
                    <a:pt x="3630" y="3369"/>
                    <a:pt x="3608" y="3380"/>
                  </a:cubicBezTo>
                  <a:cubicBezTo>
                    <a:pt x="3576" y="3397"/>
                    <a:pt x="3548" y="3359"/>
                    <a:pt x="3541" y="3342"/>
                  </a:cubicBezTo>
                  <a:cubicBezTo>
                    <a:pt x="3541" y="3342"/>
                    <a:pt x="3541" y="3342"/>
                    <a:pt x="3541" y="3342"/>
                  </a:cubicBezTo>
                  <a:cubicBezTo>
                    <a:pt x="3532" y="3342"/>
                    <a:pt x="3532" y="3342"/>
                    <a:pt x="3532" y="3342"/>
                  </a:cubicBezTo>
                  <a:cubicBezTo>
                    <a:pt x="3525" y="3330"/>
                    <a:pt x="3516" y="3322"/>
                    <a:pt x="3511" y="3287"/>
                  </a:cubicBezTo>
                  <a:cubicBezTo>
                    <a:pt x="3518" y="3287"/>
                    <a:pt x="3518" y="3287"/>
                    <a:pt x="3518" y="3287"/>
                  </a:cubicBezTo>
                  <a:cubicBezTo>
                    <a:pt x="3518" y="3281"/>
                    <a:pt x="3517" y="3275"/>
                    <a:pt x="3516" y="3268"/>
                  </a:cubicBezTo>
                  <a:cubicBezTo>
                    <a:pt x="3515" y="3247"/>
                    <a:pt x="3516" y="3225"/>
                    <a:pt x="3518" y="3205"/>
                  </a:cubicBezTo>
                  <a:cubicBezTo>
                    <a:pt x="3512" y="3205"/>
                    <a:pt x="3512" y="3205"/>
                    <a:pt x="3512" y="3205"/>
                  </a:cubicBezTo>
                  <a:cubicBezTo>
                    <a:pt x="3514" y="3185"/>
                    <a:pt x="3517" y="3166"/>
                    <a:pt x="3521" y="3150"/>
                  </a:cubicBezTo>
                  <a:cubicBezTo>
                    <a:pt x="3527" y="3150"/>
                    <a:pt x="3527" y="3150"/>
                    <a:pt x="3527" y="3150"/>
                  </a:cubicBezTo>
                  <a:cubicBezTo>
                    <a:pt x="3529" y="3139"/>
                    <a:pt x="3531" y="3130"/>
                    <a:pt x="3534" y="3122"/>
                  </a:cubicBezTo>
                  <a:cubicBezTo>
                    <a:pt x="3539" y="3107"/>
                    <a:pt x="3529" y="3086"/>
                    <a:pt x="3514" y="3067"/>
                  </a:cubicBezTo>
                  <a:cubicBezTo>
                    <a:pt x="3504" y="3067"/>
                    <a:pt x="3504" y="3067"/>
                    <a:pt x="3504" y="3067"/>
                  </a:cubicBezTo>
                  <a:cubicBezTo>
                    <a:pt x="3486" y="3046"/>
                    <a:pt x="3463" y="3028"/>
                    <a:pt x="3450" y="3031"/>
                  </a:cubicBezTo>
                  <a:cubicBezTo>
                    <a:pt x="3425" y="3035"/>
                    <a:pt x="3401" y="3064"/>
                    <a:pt x="3376" y="3060"/>
                  </a:cubicBezTo>
                  <a:cubicBezTo>
                    <a:pt x="3351" y="3056"/>
                    <a:pt x="3362" y="3047"/>
                    <a:pt x="3323" y="3047"/>
                  </a:cubicBezTo>
                  <a:cubicBezTo>
                    <a:pt x="3289" y="3047"/>
                    <a:pt x="3310" y="3040"/>
                    <a:pt x="3320" y="3013"/>
                  </a:cubicBezTo>
                  <a:cubicBezTo>
                    <a:pt x="3325" y="3013"/>
                    <a:pt x="3325" y="3013"/>
                    <a:pt x="3325" y="3013"/>
                  </a:cubicBezTo>
                  <a:cubicBezTo>
                    <a:pt x="3327" y="3008"/>
                    <a:pt x="3329" y="3003"/>
                    <a:pt x="3330" y="2997"/>
                  </a:cubicBezTo>
                  <a:cubicBezTo>
                    <a:pt x="3334" y="2977"/>
                    <a:pt x="3329" y="2953"/>
                    <a:pt x="3331" y="2930"/>
                  </a:cubicBezTo>
                  <a:cubicBezTo>
                    <a:pt x="3324" y="2930"/>
                    <a:pt x="3324" y="2930"/>
                    <a:pt x="3324" y="2930"/>
                  </a:cubicBezTo>
                  <a:cubicBezTo>
                    <a:pt x="3326" y="2912"/>
                    <a:pt x="3331" y="2895"/>
                    <a:pt x="3348" y="2881"/>
                  </a:cubicBezTo>
                  <a:cubicBezTo>
                    <a:pt x="3350" y="2879"/>
                    <a:pt x="3351" y="2877"/>
                    <a:pt x="3352" y="2875"/>
                  </a:cubicBezTo>
                  <a:cubicBezTo>
                    <a:pt x="3355" y="2875"/>
                    <a:pt x="3355" y="2875"/>
                    <a:pt x="3355" y="2875"/>
                  </a:cubicBezTo>
                  <a:cubicBezTo>
                    <a:pt x="3378" y="2855"/>
                    <a:pt x="3382" y="2819"/>
                    <a:pt x="3376" y="2793"/>
                  </a:cubicBezTo>
                  <a:cubicBezTo>
                    <a:pt x="3368" y="2793"/>
                    <a:pt x="3368" y="2793"/>
                    <a:pt x="3368" y="2793"/>
                  </a:cubicBezTo>
                  <a:cubicBezTo>
                    <a:pt x="3364" y="2777"/>
                    <a:pt x="3357" y="2766"/>
                    <a:pt x="3348" y="2764"/>
                  </a:cubicBezTo>
                  <a:cubicBezTo>
                    <a:pt x="3323" y="2760"/>
                    <a:pt x="3277" y="2777"/>
                    <a:pt x="3246" y="2773"/>
                  </a:cubicBezTo>
                  <a:cubicBezTo>
                    <a:pt x="3214" y="2769"/>
                    <a:pt x="3189" y="2802"/>
                    <a:pt x="3200" y="2839"/>
                  </a:cubicBezTo>
                  <a:cubicBezTo>
                    <a:pt x="3211" y="2877"/>
                    <a:pt x="3182" y="2902"/>
                    <a:pt x="3172" y="2898"/>
                  </a:cubicBezTo>
                  <a:cubicBezTo>
                    <a:pt x="3161" y="2893"/>
                    <a:pt x="3147" y="2873"/>
                    <a:pt x="3108" y="2906"/>
                  </a:cubicBezTo>
                  <a:cubicBezTo>
                    <a:pt x="3070" y="2939"/>
                    <a:pt x="3056" y="2927"/>
                    <a:pt x="3017" y="2889"/>
                  </a:cubicBezTo>
                  <a:cubicBezTo>
                    <a:pt x="3012" y="2885"/>
                    <a:pt x="3007" y="2880"/>
                    <a:pt x="3003" y="2875"/>
                  </a:cubicBezTo>
                  <a:cubicBezTo>
                    <a:pt x="3014" y="2875"/>
                    <a:pt x="3014" y="2875"/>
                    <a:pt x="3014" y="2875"/>
                  </a:cubicBezTo>
                  <a:cubicBezTo>
                    <a:pt x="2988" y="2851"/>
                    <a:pt x="2962" y="2825"/>
                    <a:pt x="2947" y="2793"/>
                  </a:cubicBezTo>
                  <a:cubicBezTo>
                    <a:pt x="2939" y="2793"/>
                    <a:pt x="2939" y="2793"/>
                    <a:pt x="2939" y="2793"/>
                  </a:cubicBezTo>
                  <a:cubicBezTo>
                    <a:pt x="2934" y="2782"/>
                    <a:pt x="2930" y="2769"/>
                    <a:pt x="2929" y="2756"/>
                  </a:cubicBezTo>
                  <a:cubicBezTo>
                    <a:pt x="2928" y="2750"/>
                    <a:pt x="2927" y="2744"/>
                    <a:pt x="2927" y="2738"/>
                  </a:cubicBezTo>
                  <a:cubicBezTo>
                    <a:pt x="2934" y="2738"/>
                    <a:pt x="2934" y="2738"/>
                    <a:pt x="2934" y="2738"/>
                  </a:cubicBezTo>
                  <a:cubicBezTo>
                    <a:pt x="2931" y="2709"/>
                    <a:pt x="2929" y="2681"/>
                    <a:pt x="2930" y="2656"/>
                  </a:cubicBezTo>
                  <a:cubicBezTo>
                    <a:pt x="2923" y="2656"/>
                    <a:pt x="2923" y="2656"/>
                    <a:pt x="2923" y="2656"/>
                  </a:cubicBezTo>
                  <a:cubicBezTo>
                    <a:pt x="2924" y="2636"/>
                    <a:pt x="2927" y="2619"/>
                    <a:pt x="2932" y="2606"/>
                  </a:cubicBezTo>
                  <a:cubicBezTo>
                    <a:pt x="2933" y="2605"/>
                    <a:pt x="2934" y="2603"/>
                    <a:pt x="2934" y="2601"/>
                  </a:cubicBezTo>
                  <a:cubicBezTo>
                    <a:pt x="2939" y="2601"/>
                    <a:pt x="2939" y="2601"/>
                    <a:pt x="2939" y="2601"/>
                  </a:cubicBezTo>
                  <a:cubicBezTo>
                    <a:pt x="2949" y="2577"/>
                    <a:pt x="2952" y="2540"/>
                    <a:pt x="2944" y="2519"/>
                  </a:cubicBezTo>
                  <a:cubicBezTo>
                    <a:pt x="2936" y="2519"/>
                    <a:pt x="2936" y="2519"/>
                    <a:pt x="2936" y="2519"/>
                  </a:cubicBezTo>
                  <a:cubicBezTo>
                    <a:pt x="2933" y="2513"/>
                    <a:pt x="2930" y="2508"/>
                    <a:pt x="2925" y="2506"/>
                  </a:cubicBezTo>
                  <a:cubicBezTo>
                    <a:pt x="2911" y="2501"/>
                    <a:pt x="2928" y="2479"/>
                    <a:pt x="2948" y="2464"/>
                  </a:cubicBezTo>
                  <a:cubicBezTo>
                    <a:pt x="2950" y="2464"/>
                    <a:pt x="2950" y="2464"/>
                    <a:pt x="2950" y="2464"/>
                  </a:cubicBezTo>
                  <a:cubicBezTo>
                    <a:pt x="2954" y="2460"/>
                    <a:pt x="2958" y="2457"/>
                    <a:pt x="2963" y="2454"/>
                  </a:cubicBezTo>
                  <a:cubicBezTo>
                    <a:pt x="2967" y="2452"/>
                    <a:pt x="2971" y="2449"/>
                    <a:pt x="2975" y="2448"/>
                  </a:cubicBezTo>
                  <a:cubicBezTo>
                    <a:pt x="2981" y="2446"/>
                    <a:pt x="2989" y="2442"/>
                    <a:pt x="2997" y="2436"/>
                  </a:cubicBezTo>
                  <a:cubicBezTo>
                    <a:pt x="3020" y="2422"/>
                    <a:pt x="3046" y="2395"/>
                    <a:pt x="3052" y="2382"/>
                  </a:cubicBezTo>
                  <a:cubicBezTo>
                    <a:pt x="3052" y="2381"/>
                    <a:pt x="3052" y="2381"/>
                    <a:pt x="3052" y="2381"/>
                  </a:cubicBezTo>
                  <a:cubicBezTo>
                    <a:pt x="3048" y="2381"/>
                    <a:pt x="3048" y="2381"/>
                    <a:pt x="3048" y="2381"/>
                  </a:cubicBezTo>
                  <a:cubicBezTo>
                    <a:pt x="3060" y="2370"/>
                    <a:pt x="3091" y="2373"/>
                    <a:pt x="3126" y="2373"/>
                  </a:cubicBezTo>
                  <a:cubicBezTo>
                    <a:pt x="3165" y="2373"/>
                    <a:pt x="3172" y="2373"/>
                    <a:pt x="3211" y="2398"/>
                  </a:cubicBezTo>
                  <a:cubicBezTo>
                    <a:pt x="3229" y="2410"/>
                    <a:pt x="3240" y="2408"/>
                    <a:pt x="3246" y="2401"/>
                  </a:cubicBezTo>
                  <a:cubicBezTo>
                    <a:pt x="3255" y="2398"/>
                    <a:pt x="3259" y="2389"/>
                    <a:pt x="3261" y="2381"/>
                  </a:cubicBezTo>
                  <a:cubicBezTo>
                    <a:pt x="3256" y="2381"/>
                    <a:pt x="3256" y="2381"/>
                    <a:pt x="3256" y="2381"/>
                  </a:cubicBezTo>
                  <a:cubicBezTo>
                    <a:pt x="3256" y="2378"/>
                    <a:pt x="3256" y="2375"/>
                    <a:pt x="3256" y="2373"/>
                  </a:cubicBezTo>
                  <a:cubicBezTo>
                    <a:pt x="3256" y="2361"/>
                    <a:pt x="3278" y="2352"/>
                    <a:pt x="3320" y="2356"/>
                  </a:cubicBezTo>
                  <a:cubicBezTo>
                    <a:pt x="3363" y="2360"/>
                    <a:pt x="3415" y="2323"/>
                    <a:pt x="3425" y="2336"/>
                  </a:cubicBezTo>
                  <a:cubicBezTo>
                    <a:pt x="3436" y="2348"/>
                    <a:pt x="3457" y="2398"/>
                    <a:pt x="3478" y="2382"/>
                  </a:cubicBezTo>
                  <a:cubicBezTo>
                    <a:pt x="3499" y="2365"/>
                    <a:pt x="3506" y="2336"/>
                    <a:pt x="3513" y="2386"/>
                  </a:cubicBezTo>
                  <a:cubicBezTo>
                    <a:pt x="3520" y="2436"/>
                    <a:pt x="3538" y="2511"/>
                    <a:pt x="3570" y="2523"/>
                  </a:cubicBezTo>
                  <a:cubicBezTo>
                    <a:pt x="3601" y="2536"/>
                    <a:pt x="3584" y="2586"/>
                    <a:pt x="3615" y="2590"/>
                  </a:cubicBezTo>
                  <a:cubicBezTo>
                    <a:pt x="3621" y="2590"/>
                    <a:pt x="3625" y="2588"/>
                    <a:pt x="3629" y="2585"/>
                  </a:cubicBezTo>
                  <a:cubicBezTo>
                    <a:pt x="3646" y="2579"/>
                    <a:pt x="3657" y="2548"/>
                    <a:pt x="3660" y="2519"/>
                  </a:cubicBezTo>
                  <a:cubicBezTo>
                    <a:pt x="3653" y="2519"/>
                    <a:pt x="3653" y="2519"/>
                    <a:pt x="3653" y="2519"/>
                  </a:cubicBezTo>
                  <a:cubicBezTo>
                    <a:pt x="3654" y="2504"/>
                    <a:pt x="3654" y="2490"/>
                    <a:pt x="3651" y="2482"/>
                  </a:cubicBezTo>
                  <a:cubicBezTo>
                    <a:pt x="3649" y="2477"/>
                    <a:pt x="3647" y="2471"/>
                    <a:pt x="3645" y="2464"/>
                  </a:cubicBezTo>
                  <a:cubicBezTo>
                    <a:pt x="3653" y="2464"/>
                    <a:pt x="3653" y="2464"/>
                    <a:pt x="3653" y="2464"/>
                  </a:cubicBezTo>
                  <a:cubicBezTo>
                    <a:pt x="3646" y="2442"/>
                    <a:pt x="3637" y="2409"/>
                    <a:pt x="3627" y="2381"/>
                  </a:cubicBezTo>
                  <a:cubicBezTo>
                    <a:pt x="3619" y="2381"/>
                    <a:pt x="3619" y="2381"/>
                    <a:pt x="3619" y="2381"/>
                  </a:cubicBezTo>
                  <a:cubicBezTo>
                    <a:pt x="3613" y="2365"/>
                    <a:pt x="3607" y="2351"/>
                    <a:pt x="3601" y="2344"/>
                  </a:cubicBezTo>
                  <a:cubicBezTo>
                    <a:pt x="3597" y="2340"/>
                    <a:pt x="3596" y="2333"/>
                    <a:pt x="3596" y="2326"/>
                  </a:cubicBezTo>
                  <a:cubicBezTo>
                    <a:pt x="3603" y="2326"/>
                    <a:pt x="3603" y="2326"/>
                    <a:pt x="3603" y="2326"/>
                  </a:cubicBezTo>
                  <a:cubicBezTo>
                    <a:pt x="3602" y="2306"/>
                    <a:pt x="3619" y="2276"/>
                    <a:pt x="3642" y="2259"/>
                  </a:cubicBezTo>
                  <a:cubicBezTo>
                    <a:pt x="3644" y="2258"/>
                    <a:pt x="3646" y="2256"/>
                    <a:pt x="3649" y="2255"/>
                  </a:cubicBezTo>
                  <a:cubicBezTo>
                    <a:pt x="3650" y="2254"/>
                    <a:pt x="3652" y="2253"/>
                    <a:pt x="3654" y="2251"/>
                  </a:cubicBezTo>
                  <a:cubicBezTo>
                    <a:pt x="3654" y="2251"/>
                    <a:pt x="3655" y="2251"/>
                    <a:pt x="3655" y="2251"/>
                  </a:cubicBezTo>
                  <a:cubicBezTo>
                    <a:pt x="3658" y="2249"/>
                    <a:pt x="3662" y="2247"/>
                    <a:pt x="3665" y="2244"/>
                  </a:cubicBezTo>
                  <a:cubicBezTo>
                    <a:pt x="3664" y="2244"/>
                    <a:pt x="3664" y="2244"/>
                    <a:pt x="3664" y="2244"/>
                  </a:cubicBezTo>
                  <a:cubicBezTo>
                    <a:pt x="3680" y="2231"/>
                    <a:pt x="3698" y="2210"/>
                    <a:pt x="3714" y="2189"/>
                  </a:cubicBezTo>
                  <a:cubicBezTo>
                    <a:pt x="3717" y="2189"/>
                    <a:pt x="3717" y="2189"/>
                    <a:pt x="3717" y="2189"/>
                  </a:cubicBezTo>
                  <a:cubicBezTo>
                    <a:pt x="3738" y="2163"/>
                    <a:pt x="3758" y="2136"/>
                    <a:pt x="3770" y="2124"/>
                  </a:cubicBezTo>
                  <a:cubicBezTo>
                    <a:pt x="3772" y="2121"/>
                    <a:pt x="3775" y="2119"/>
                    <a:pt x="3778" y="2117"/>
                  </a:cubicBezTo>
                  <a:cubicBezTo>
                    <a:pt x="3811" y="2100"/>
                    <a:pt x="3865" y="2091"/>
                    <a:pt x="3847" y="2063"/>
                  </a:cubicBezTo>
                  <a:cubicBezTo>
                    <a:pt x="3845" y="2059"/>
                    <a:pt x="3843" y="2055"/>
                    <a:pt x="3841" y="2052"/>
                  </a:cubicBezTo>
                  <a:cubicBezTo>
                    <a:pt x="3850" y="2052"/>
                    <a:pt x="3850" y="2052"/>
                    <a:pt x="3850" y="2052"/>
                  </a:cubicBezTo>
                  <a:cubicBezTo>
                    <a:pt x="3831" y="2022"/>
                    <a:pt x="3815" y="1993"/>
                    <a:pt x="3813" y="1970"/>
                  </a:cubicBezTo>
                  <a:cubicBezTo>
                    <a:pt x="3806" y="1970"/>
                    <a:pt x="3806" y="1970"/>
                    <a:pt x="3806" y="1970"/>
                  </a:cubicBezTo>
                  <a:cubicBezTo>
                    <a:pt x="3806" y="1945"/>
                    <a:pt x="3827" y="1953"/>
                    <a:pt x="3837" y="1970"/>
                  </a:cubicBezTo>
                  <a:cubicBezTo>
                    <a:pt x="3848" y="1986"/>
                    <a:pt x="3890" y="1945"/>
                    <a:pt x="3879" y="1924"/>
                  </a:cubicBezTo>
                  <a:cubicBezTo>
                    <a:pt x="3878" y="1921"/>
                    <a:pt x="3877" y="1918"/>
                    <a:pt x="3876" y="1915"/>
                  </a:cubicBezTo>
                  <a:cubicBezTo>
                    <a:pt x="3884" y="1915"/>
                    <a:pt x="3884" y="1915"/>
                    <a:pt x="3884" y="1915"/>
                  </a:cubicBezTo>
                  <a:cubicBezTo>
                    <a:pt x="3879" y="1902"/>
                    <a:pt x="3879" y="1887"/>
                    <a:pt x="3886" y="1879"/>
                  </a:cubicBezTo>
                  <a:cubicBezTo>
                    <a:pt x="3889" y="1878"/>
                    <a:pt x="3893" y="1878"/>
                    <a:pt x="3897" y="1878"/>
                  </a:cubicBezTo>
                  <a:cubicBezTo>
                    <a:pt x="3906" y="1880"/>
                    <a:pt x="3913" y="1877"/>
                    <a:pt x="3917" y="1873"/>
                  </a:cubicBezTo>
                  <a:cubicBezTo>
                    <a:pt x="3930" y="1868"/>
                    <a:pt x="3933" y="1850"/>
                    <a:pt x="3925" y="1837"/>
                  </a:cubicBezTo>
                  <a:cubicBezTo>
                    <a:pt x="3924" y="1835"/>
                    <a:pt x="3924" y="1834"/>
                    <a:pt x="3923" y="1832"/>
                  </a:cubicBezTo>
                  <a:cubicBezTo>
                    <a:pt x="3917" y="1832"/>
                    <a:pt x="3917" y="1832"/>
                    <a:pt x="3917" y="1832"/>
                  </a:cubicBezTo>
                  <a:cubicBezTo>
                    <a:pt x="3920" y="1818"/>
                    <a:pt x="3947" y="1805"/>
                    <a:pt x="3967" y="1812"/>
                  </a:cubicBezTo>
                  <a:cubicBezTo>
                    <a:pt x="3992" y="1820"/>
                    <a:pt x="4073" y="1827"/>
                    <a:pt x="4084" y="1810"/>
                  </a:cubicBezTo>
                  <a:cubicBezTo>
                    <a:pt x="4089" y="1803"/>
                    <a:pt x="4081" y="1791"/>
                    <a:pt x="4071" y="1777"/>
                  </a:cubicBezTo>
                  <a:cubicBezTo>
                    <a:pt x="4081" y="1777"/>
                    <a:pt x="4081" y="1777"/>
                    <a:pt x="4081" y="1777"/>
                  </a:cubicBezTo>
                  <a:cubicBezTo>
                    <a:pt x="4069" y="1760"/>
                    <a:pt x="4052" y="1740"/>
                    <a:pt x="4052" y="1720"/>
                  </a:cubicBezTo>
                  <a:cubicBezTo>
                    <a:pt x="4052" y="1711"/>
                    <a:pt x="4055" y="1703"/>
                    <a:pt x="4059" y="1695"/>
                  </a:cubicBezTo>
                  <a:cubicBezTo>
                    <a:pt x="4056" y="1695"/>
                    <a:pt x="4056" y="1695"/>
                    <a:pt x="4056" y="1695"/>
                  </a:cubicBezTo>
                  <a:cubicBezTo>
                    <a:pt x="4070" y="1676"/>
                    <a:pt x="4095" y="1661"/>
                    <a:pt x="4112" y="1658"/>
                  </a:cubicBezTo>
                  <a:cubicBezTo>
                    <a:pt x="4136" y="1654"/>
                    <a:pt x="4168" y="1658"/>
                    <a:pt x="4172" y="1645"/>
                  </a:cubicBezTo>
                  <a:cubicBezTo>
                    <a:pt x="4172" y="1644"/>
                    <a:pt x="4173" y="1642"/>
                    <a:pt x="4174" y="1640"/>
                  </a:cubicBezTo>
                  <a:cubicBezTo>
                    <a:pt x="4179" y="1640"/>
                    <a:pt x="4179" y="1640"/>
                    <a:pt x="4179" y="1640"/>
                  </a:cubicBezTo>
                  <a:cubicBezTo>
                    <a:pt x="4181" y="1635"/>
                    <a:pt x="4188" y="1626"/>
                    <a:pt x="4196" y="1620"/>
                  </a:cubicBezTo>
                  <a:cubicBezTo>
                    <a:pt x="4204" y="1616"/>
                    <a:pt x="4212" y="1616"/>
                    <a:pt x="4214" y="1629"/>
                  </a:cubicBezTo>
                  <a:cubicBezTo>
                    <a:pt x="4217" y="1658"/>
                    <a:pt x="4214" y="1708"/>
                    <a:pt x="4242" y="1708"/>
                  </a:cubicBezTo>
                  <a:cubicBezTo>
                    <a:pt x="4270" y="1708"/>
                    <a:pt x="4305" y="1670"/>
                    <a:pt x="4316" y="1666"/>
                  </a:cubicBezTo>
                  <a:cubicBezTo>
                    <a:pt x="4327" y="1662"/>
                    <a:pt x="4393" y="1645"/>
                    <a:pt x="4408" y="1641"/>
                  </a:cubicBezTo>
                  <a:cubicBezTo>
                    <a:pt x="4418" y="1638"/>
                    <a:pt x="4470" y="1632"/>
                    <a:pt x="4489" y="1617"/>
                  </a:cubicBezTo>
                  <a:cubicBezTo>
                    <a:pt x="4499" y="1611"/>
                    <a:pt x="4505" y="1604"/>
                    <a:pt x="4502" y="1595"/>
                  </a:cubicBezTo>
                  <a:cubicBezTo>
                    <a:pt x="4497" y="1582"/>
                    <a:pt x="4493" y="1569"/>
                    <a:pt x="4488" y="1558"/>
                  </a:cubicBezTo>
                  <a:cubicBezTo>
                    <a:pt x="4480" y="1558"/>
                    <a:pt x="4480" y="1558"/>
                    <a:pt x="4480" y="1558"/>
                  </a:cubicBezTo>
                  <a:cubicBezTo>
                    <a:pt x="4474" y="1546"/>
                    <a:pt x="4469" y="1535"/>
                    <a:pt x="4464" y="1529"/>
                  </a:cubicBezTo>
                  <a:cubicBezTo>
                    <a:pt x="4453" y="1517"/>
                    <a:pt x="4443" y="1533"/>
                    <a:pt x="4429" y="1554"/>
                  </a:cubicBezTo>
                  <a:cubicBezTo>
                    <a:pt x="4427" y="1557"/>
                    <a:pt x="4424" y="1559"/>
                    <a:pt x="4421" y="1561"/>
                  </a:cubicBezTo>
                  <a:cubicBezTo>
                    <a:pt x="4411" y="1567"/>
                    <a:pt x="4400" y="1566"/>
                    <a:pt x="4393" y="1558"/>
                  </a:cubicBezTo>
                  <a:cubicBezTo>
                    <a:pt x="4383" y="1558"/>
                    <a:pt x="4383" y="1558"/>
                    <a:pt x="4383" y="1558"/>
                  </a:cubicBezTo>
                  <a:cubicBezTo>
                    <a:pt x="4376" y="1541"/>
                    <a:pt x="4386" y="1492"/>
                    <a:pt x="4362" y="1508"/>
                  </a:cubicBezTo>
                  <a:cubicBezTo>
                    <a:pt x="4337" y="1525"/>
                    <a:pt x="4334" y="1541"/>
                    <a:pt x="4319" y="1533"/>
                  </a:cubicBezTo>
                  <a:cubicBezTo>
                    <a:pt x="4310" y="1527"/>
                    <a:pt x="4300" y="1512"/>
                    <a:pt x="4295" y="1503"/>
                  </a:cubicBezTo>
                  <a:cubicBezTo>
                    <a:pt x="4304" y="1503"/>
                    <a:pt x="4304" y="1503"/>
                    <a:pt x="4304" y="1503"/>
                  </a:cubicBezTo>
                  <a:cubicBezTo>
                    <a:pt x="4301" y="1497"/>
                    <a:pt x="4298" y="1491"/>
                    <a:pt x="4298" y="1491"/>
                  </a:cubicBezTo>
                  <a:cubicBezTo>
                    <a:pt x="4298" y="1491"/>
                    <a:pt x="4333" y="1471"/>
                    <a:pt x="4309" y="1433"/>
                  </a:cubicBezTo>
                  <a:cubicBezTo>
                    <a:pt x="4305" y="1428"/>
                    <a:pt x="4302" y="1424"/>
                    <a:pt x="4298" y="1421"/>
                  </a:cubicBezTo>
                  <a:cubicBezTo>
                    <a:pt x="4286" y="1421"/>
                    <a:pt x="4286" y="1421"/>
                    <a:pt x="4286" y="1421"/>
                  </a:cubicBezTo>
                  <a:cubicBezTo>
                    <a:pt x="4268" y="1408"/>
                    <a:pt x="4246" y="1410"/>
                    <a:pt x="4223" y="1421"/>
                  </a:cubicBezTo>
                  <a:cubicBezTo>
                    <a:pt x="4221" y="1421"/>
                    <a:pt x="4221" y="1421"/>
                    <a:pt x="4221" y="1421"/>
                  </a:cubicBezTo>
                  <a:cubicBezTo>
                    <a:pt x="4219" y="1422"/>
                    <a:pt x="4216" y="1423"/>
                    <a:pt x="4213" y="1425"/>
                  </a:cubicBezTo>
                  <a:cubicBezTo>
                    <a:pt x="4178" y="1446"/>
                    <a:pt x="4182" y="1442"/>
                    <a:pt x="4140" y="1454"/>
                  </a:cubicBezTo>
                  <a:cubicBezTo>
                    <a:pt x="4097" y="1466"/>
                    <a:pt x="4076" y="1479"/>
                    <a:pt x="4076" y="1479"/>
                  </a:cubicBezTo>
                  <a:cubicBezTo>
                    <a:pt x="4076" y="1479"/>
                    <a:pt x="4082" y="1448"/>
                    <a:pt x="4094" y="1421"/>
                  </a:cubicBezTo>
                  <a:cubicBezTo>
                    <a:pt x="4089" y="1421"/>
                    <a:pt x="4089" y="1421"/>
                    <a:pt x="4089" y="1421"/>
                  </a:cubicBezTo>
                  <a:cubicBezTo>
                    <a:pt x="4094" y="1410"/>
                    <a:pt x="4099" y="1400"/>
                    <a:pt x="4106" y="1393"/>
                  </a:cubicBezTo>
                  <a:cubicBezTo>
                    <a:pt x="4129" y="1370"/>
                    <a:pt x="4197" y="1378"/>
                    <a:pt x="4223" y="1358"/>
                  </a:cubicBezTo>
                  <a:cubicBezTo>
                    <a:pt x="4227" y="1356"/>
                    <a:pt x="4232" y="1353"/>
                    <a:pt x="4235" y="1350"/>
                  </a:cubicBezTo>
                  <a:cubicBezTo>
                    <a:pt x="4236" y="1349"/>
                    <a:pt x="4237" y="1348"/>
                    <a:pt x="4238" y="1348"/>
                  </a:cubicBezTo>
                  <a:cubicBezTo>
                    <a:pt x="4263" y="1339"/>
                    <a:pt x="4305" y="1367"/>
                    <a:pt x="4305" y="1367"/>
                  </a:cubicBezTo>
                  <a:cubicBezTo>
                    <a:pt x="4305" y="1367"/>
                    <a:pt x="4307" y="1364"/>
                    <a:pt x="4310" y="1361"/>
                  </a:cubicBezTo>
                  <a:cubicBezTo>
                    <a:pt x="4311" y="1362"/>
                    <a:pt x="4312" y="1362"/>
                    <a:pt x="4312" y="1362"/>
                  </a:cubicBezTo>
                  <a:cubicBezTo>
                    <a:pt x="4312" y="1362"/>
                    <a:pt x="4319" y="1354"/>
                    <a:pt x="4326" y="1349"/>
                  </a:cubicBezTo>
                  <a:cubicBezTo>
                    <a:pt x="4330" y="1347"/>
                    <a:pt x="4334" y="1347"/>
                    <a:pt x="4334" y="1354"/>
                  </a:cubicBezTo>
                  <a:cubicBezTo>
                    <a:pt x="4334" y="1375"/>
                    <a:pt x="4327" y="1429"/>
                    <a:pt x="4348" y="1429"/>
                  </a:cubicBezTo>
                  <a:cubicBezTo>
                    <a:pt x="4369" y="1429"/>
                    <a:pt x="4429" y="1396"/>
                    <a:pt x="4404" y="1388"/>
                  </a:cubicBezTo>
                  <a:cubicBezTo>
                    <a:pt x="4390" y="1383"/>
                    <a:pt x="4398" y="1375"/>
                    <a:pt x="4412" y="1366"/>
                  </a:cubicBezTo>
                  <a:cubicBezTo>
                    <a:pt x="4412" y="1366"/>
                    <a:pt x="4412" y="1366"/>
                    <a:pt x="4412" y="1366"/>
                  </a:cubicBezTo>
                  <a:cubicBezTo>
                    <a:pt x="4421" y="1359"/>
                    <a:pt x="4435" y="1350"/>
                    <a:pt x="4447" y="1341"/>
                  </a:cubicBezTo>
                  <a:cubicBezTo>
                    <a:pt x="4473" y="1325"/>
                    <a:pt x="4517" y="1346"/>
                    <a:pt x="4531" y="1338"/>
                  </a:cubicBezTo>
                  <a:cubicBezTo>
                    <a:pt x="4532" y="1337"/>
                    <a:pt x="4534" y="1335"/>
                    <a:pt x="4535" y="1334"/>
                  </a:cubicBezTo>
                  <a:cubicBezTo>
                    <a:pt x="4536" y="1334"/>
                    <a:pt x="4537" y="1334"/>
                    <a:pt x="4537" y="1333"/>
                  </a:cubicBezTo>
                  <a:cubicBezTo>
                    <a:pt x="4548" y="1327"/>
                    <a:pt x="4556" y="1306"/>
                    <a:pt x="4569" y="1295"/>
                  </a:cubicBezTo>
                  <a:cubicBezTo>
                    <a:pt x="4573" y="1293"/>
                    <a:pt x="4576" y="1292"/>
                    <a:pt x="4580" y="1292"/>
                  </a:cubicBezTo>
                  <a:cubicBezTo>
                    <a:pt x="4605" y="1292"/>
                    <a:pt x="4615" y="1329"/>
                    <a:pt x="4580" y="1354"/>
                  </a:cubicBezTo>
                  <a:cubicBezTo>
                    <a:pt x="4545" y="1379"/>
                    <a:pt x="4541" y="1442"/>
                    <a:pt x="4524" y="1458"/>
                  </a:cubicBezTo>
                  <a:cubicBezTo>
                    <a:pt x="4506" y="1475"/>
                    <a:pt x="4517" y="1496"/>
                    <a:pt x="4545" y="1492"/>
                  </a:cubicBezTo>
                  <a:cubicBezTo>
                    <a:pt x="4573" y="1487"/>
                    <a:pt x="4598" y="1496"/>
                    <a:pt x="4622" y="1487"/>
                  </a:cubicBezTo>
                  <a:cubicBezTo>
                    <a:pt x="4647" y="1479"/>
                    <a:pt x="4661" y="1496"/>
                    <a:pt x="4668" y="1508"/>
                  </a:cubicBezTo>
                  <a:cubicBezTo>
                    <a:pt x="4672" y="1516"/>
                    <a:pt x="4682" y="1509"/>
                    <a:pt x="4689" y="1503"/>
                  </a:cubicBezTo>
                  <a:cubicBezTo>
                    <a:pt x="4690" y="1503"/>
                    <a:pt x="4690" y="1503"/>
                    <a:pt x="4690" y="1503"/>
                  </a:cubicBezTo>
                  <a:cubicBezTo>
                    <a:pt x="4694" y="1500"/>
                    <a:pt x="4697" y="1497"/>
                    <a:pt x="4700" y="1495"/>
                  </a:cubicBezTo>
                  <a:cubicBezTo>
                    <a:pt x="4710" y="1493"/>
                    <a:pt x="4744" y="1486"/>
                    <a:pt x="4756" y="1504"/>
                  </a:cubicBezTo>
                  <a:cubicBezTo>
                    <a:pt x="4763" y="1514"/>
                    <a:pt x="4769" y="1511"/>
                    <a:pt x="4772" y="1503"/>
                  </a:cubicBezTo>
                  <a:cubicBezTo>
                    <a:pt x="4777" y="1503"/>
                    <a:pt x="4777" y="1503"/>
                    <a:pt x="4777" y="1503"/>
                  </a:cubicBezTo>
                  <a:cubicBezTo>
                    <a:pt x="4782" y="1496"/>
                    <a:pt x="4783" y="1479"/>
                    <a:pt x="4777" y="1466"/>
                  </a:cubicBezTo>
                  <a:cubicBezTo>
                    <a:pt x="4769" y="1452"/>
                    <a:pt x="4760" y="1437"/>
                    <a:pt x="4752" y="1421"/>
                  </a:cubicBezTo>
                  <a:cubicBezTo>
                    <a:pt x="4743" y="1421"/>
                    <a:pt x="4743" y="1421"/>
                    <a:pt x="4743" y="1421"/>
                  </a:cubicBezTo>
                  <a:cubicBezTo>
                    <a:pt x="4740" y="1415"/>
                    <a:pt x="4737" y="1410"/>
                    <a:pt x="4735" y="1404"/>
                  </a:cubicBezTo>
                  <a:cubicBezTo>
                    <a:pt x="4724" y="1379"/>
                    <a:pt x="4710" y="1371"/>
                    <a:pt x="4682" y="1379"/>
                  </a:cubicBezTo>
                  <a:cubicBezTo>
                    <a:pt x="4659" y="1386"/>
                    <a:pt x="4650" y="1376"/>
                    <a:pt x="4638" y="1366"/>
                  </a:cubicBezTo>
                  <a:cubicBezTo>
                    <a:pt x="4650" y="1366"/>
                    <a:pt x="4650" y="1366"/>
                    <a:pt x="4650" y="1366"/>
                  </a:cubicBezTo>
                  <a:cubicBezTo>
                    <a:pt x="4646" y="1362"/>
                    <a:pt x="4641" y="1358"/>
                    <a:pt x="4636" y="1354"/>
                  </a:cubicBezTo>
                  <a:cubicBezTo>
                    <a:pt x="4618" y="1342"/>
                    <a:pt x="4604" y="1371"/>
                    <a:pt x="4618" y="1342"/>
                  </a:cubicBezTo>
                  <a:cubicBezTo>
                    <a:pt x="4632" y="1314"/>
                    <a:pt x="4639" y="1305"/>
                    <a:pt x="4648" y="1283"/>
                  </a:cubicBezTo>
                  <a:cubicBezTo>
                    <a:pt x="4643" y="1283"/>
                    <a:pt x="4643" y="1283"/>
                    <a:pt x="4643" y="1283"/>
                  </a:cubicBezTo>
                  <a:cubicBezTo>
                    <a:pt x="4650" y="1269"/>
                    <a:pt x="4668" y="1247"/>
                    <a:pt x="4673" y="1229"/>
                  </a:cubicBezTo>
                  <a:cubicBezTo>
                    <a:pt x="4678" y="1229"/>
                    <a:pt x="4678" y="1229"/>
                    <a:pt x="4678" y="1229"/>
                  </a:cubicBezTo>
                  <a:cubicBezTo>
                    <a:pt x="4683" y="1214"/>
                    <a:pt x="4681" y="1202"/>
                    <a:pt x="4661" y="1196"/>
                  </a:cubicBezTo>
                  <a:cubicBezTo>
                    <a:pt x="4615" y="1184"/>
                    <a:pt x="4601" y="1175"/>
                    <a:pt x="4594" y="1150"/>
                  </a:cubicBezTo>
                  <a:cubicBezTo>
                    <a:pt x="4593" y="1149"/>
                    <a:pt x="4592" y="1148"/>
                    <a:pt x="4592" y="1146"/>
                  </a:cubicBezTo>
                  <a:cubicBezTo>
                    <a:pt x="4583" y="1146"/>
                    <a:pt x="4583" y="1146"/>
                    <a:pt x="4583" y="1146"/>
                  </a:cubicBezTo>
                  <a:cubicBezTo>
                    <a:pt x="4573" y="1128"/>
                    <a:pt x="4548" y="1103"/>
                    <a:pt x="4530" y="1091"/>
                  </a:cubicBezTo>
                  <a:cubicBezTo>
                    <a:pt x="4542" y="1091"/>
                    <a:pt x="4542" y="1091"/>
                    <a:pt x="4542" y="1091"/>
                  </a:cubicBezTo>
                  <a:cubicBezTo>
                    <a:pt x="4532" y="1084"/>
                    <a:pt x="4524" y="1080"/>
                    <a:pt x="4520" y="1080"/>
                  </a:cubicBezTo>
                  <a:cubicBezTo>
                    <a:pt x="4506" y="1080"/>
                    <a:pt x="4438" y="1094"/>
                    <a:pt x="4435" y="1074"/>
                  </a:cubicBezTo>
                  <a:cubicBezTo>
                    <a:pt x="4432" y="1061"/>
                    <a:pt x="4425" y="1033"/>
                    <a:pt x="4416" y="1009"/>
                  </a:cubicBezTo>
                  <a:cubicBezTo>
                    <a:pt x="4408" y="1009"/>
                    <a:pt x="4408" y="1009"/>
                    <a:pt x="4408" y="1009"/>
                  </a:cubicBezTo>
                  <a:cubicBezTo>
                    <a:pt x="4402" y="995"/>
                    <a:pt x="4396" y="983"/>
                    <a:pt x="4390" y="976"/>
                  </a:cubicBezTo>
                  <a:cubicBezTo>
                    <a:pt x="4386" y="971"/>
                    <a:pt x="4380" y="963"/>
                    <a:pt x="4373" y="954"/>
                  </a:cubicBezTo>
                  <a:cubicBezTo>
                    <a:pt x="4383" y="954"/>
                    <a:pt x="4383" y="954"/>
                    <a:pt x="4383" y="954"/>
                  </a:cubicBezTo>
                  <a:cubicBezTo>
                    <a:pt x="4365" y="931"/>
                    <a:pt x="4338" y="895"/>
                    <a:pt x="4319" y="872"/>
                  </a:cubicBezTo>
                  <a:cubicBezTo>
                    <a:pt x="4309" y="872"/>
                    <a:pt x="4309" y="872"/>
                    <a:pt x="4309" y="872"/>
                  </a:cubicBezTo>
                  <a:cubicBezTo>
                    <a:pt x="4303" y="863"/>
                    <a:pt x="4297" y="857"/>
                    <a:pt x="4295" y="855"/>
                  </a:cubicBezTo>
                  <a:cubicBezTo>
                    <a:pt x="4284" y="847"/>
                    <a:pt x="4270" y="851"/>
                    <a:pt x="4239" y="901"/>
                  </a:cubicBezTo>
                  <a:cubicBezTo>
                    <a:pt x="4227" y="919"/>
                    <a:pt x="4216" y="932"/>
                    <a:pt x="4205" y="940"/>
                  </a:cubicBezTo>
                  <a:cubicBezTo>
                    <a:pt x="4189" y="949"/>
                    <a:pt x="4174" y="949"/>
                    <a:pt x="4161" y="942"/>
                  </a:cubicBezTo>
                  <a:cubicBezTo>
                    <a:pt x="4136" y="930"/>
                    <a:pt x="4109" y="943"/>
                    <a:pt x="4084" y="909"/>
                  </a:cubicBezTo>
                  <a:cubicBezTo>
                    <a:pt x="4072" y="893"/>
                    <a:pt x="4084" y="882"/>
                    <a:pt x="4097" y="872"/>
                  </a:cubicBezTo>
                  <a:cubicBezTo>
                    <a:pt x="4097" y="872"/>
                    <a:pt x="4097" y="872"/>
                    <a:pt x="4097" y="872"/>
                  </a:cubicBezTo>
                  <a:cubicBezTo>
                    <a:pt x="4109" y="863"/>
                    <a:pt x="4120" y="856"/>
                    <a:pt x="4115" y="847"/>
                  </a:cubicBezTo>
                  <a:cubicBezTo>
                    <a:pt x="4107" y="830"/>
                    <a:pt x="4070" y="822"/>
                    <a:pt x="4038" y="817"/>
                  </a:cubicBezTo>
                  <a:cubicBezTo>
                    <a:pt x="4068" y="817"/>
                    <a:pt x="4068" y="817"/>
                    <a:pt x="4068" y="817"/>
                  </a:cubicBezTo>
                  <a:cubicBezTo>
                    <a:pt x="4051" y="813"/>
                    <a:pt x="4034" y="811"/>
                    <a:pt x="4020" y="809"/>
                  </a:cubicBezTo>
                  <a:cubicBezTo>
                    <a:pt x="3985" y="805"/>
                    <a:pt x="3960" y="759"/>
                    <a:pt x="3907" y="755"/>
                  </a:cubicBezTo>
                  <a:cubicBezTo>
                    <a:pt x="3854" y="751"/>
                    <a:pt x="3791" y="763"/>
                    <a:pt x="3773" y="763"/>
                  </a:cubicBezTo>
                  <a:cubicBezTo>
                    <a:pt x="3769" y="763"/>
                    <a:pt x="3766" y="765"/>
                    <a:pt x="3764" y="768"/>
                  </a:cubicBezTo>
                  <a:cubicBezTo>
                    <a:pt x="3749" y="772"/>
                    <a:pt x="3749" y="800"/>
                    <a:pt x="3742" y="843"/>
                  </a:cubicBezTo>
                  <a:cubicBezTo>
                    <a:pt x="3737" y="879"/>
                    <a:pt x="3755" y="894"/>
                    <a:pt x="3747" y="903"/>
                  </a:cubicBezTo>
                  <a:cubicBezTo>
                    <a:pt x="3745" y="904"/>
                    <a:pt x="3744" y="904"/>
                    <a:pt x="3742" y="905"/>
                  </a:cubicBezTo>
                  <a:cubicBezTo>
                    <a:pt x="3725" y="909"/>
                    <a:pt x="3714" y="912"/>
                    <a:pt x="3711" y="917"/>
                  </a:cubicBezTo>
                  <a:cubicBezTo>
                    <a:pt x="3699" y="922"/>
                    <a:pt x="3700" y="927"/>
                    <a:pt x="3721" y="938"/>
                  </a:cubicBezTo>
                  <a:cubicBezTo>
                    <a:pt x="3753" y="955"/>
                    <a:pt x="3795" y="1021"/>
                    <a:pt x="3795" y="1021"/>
                  </a:cubicBezTo>
                  <a:cubicBezTo>
                    <a:pt x="3795" y="1021"/>
                    <a:pt x="3795" y="1059"/>
                    <a:pt x="3770" y="1080"/>
                  </a:cubicBezTo>
                  <a:cubicBezTo>
                    <a:pt x="3746" y="1101"/>
                    <a:pt x="3721" y="1121"/>
                    <a:pt x="3707" y="1096"/>
                  </a:cubicBezTo>
                  <a:cubicBezTo>
                    <a:pt x="3706" y="1094"/>
                    <a:pt x="3704" y="1093"/>
                    <a:pt x="3703" y="1091"/>
                  </a:cubicBezTo>
                  <a:cubicBezTo>
                    <a:pt x="3713" y="1091"/>
                    <a:pt x="3713" y="1091"/>
                    <a:pt x="3713" y="1091"/>
                  </a:cubicBezTo>
                  <a:cubicBezTo>
                    <a:pt x="3703" y="1074"/>
                    <a:pt x="3681" y="1072"/>
                    <a:pt x="3673" y="1081"/>
                  </a:cubicBezTo>
                  <a:cubicBezTo>
                    <a:pt x="3665" y="1083"/>
                    <a:pt x="3660" y="1090"/>
                    <a:pt x="3665" y="1101"/>
                  </a:cubicBezTo>
                  <a:cubicBezTo>
                    <a:pt x="3675" y="1126"/>
                    <a:pt x="3696" y="1138"/>
                    <a:pt x="3696" y="1163"/>
                  </a:cubicBezTo>
                  <a:cubicBezTo>
                    <a:pt x="3696" y="1188"/>
                    <a:pt x="3728" y="1250"/>
                    <a:pt x="3707" y="1271"/>
                  </a:cubicBezTo>
                  <a:cubicBezTo>
                    <a:pt x="3686" y="1292"/>
                    <a:pt x="3661" y="1275"/>
                    <a:pt x="3644" y="1279"/>
                  </a:cubicBezTo>
                  <a:cubicBezTo>
                    <a:pt x="3626" y="1284"/>
                    <a:pt x="3608" y="1246"/>
                    <a:pt x="3622" y="1238"/>
                  </a:cubicBezTo>
                  <a:cubicBezTo>
                    <a:pt x="3625" y="1236"/>
                    <a:pt x="3626" y="1233"/>
                    <a:pt x="3627" y="1229"/>
                  </a:cubicBezTo>
                  <a:cubicBezTo>
                    <a:pt x="3633" y="1229"/>
                    <a:pt x="3633" y="1229"/>
                    <a:pt x="3633" y="1229"/>
                  </a:cubicBezTo>
                  <a:cubicBezTo>
                    <a:pt x="3639" y="1211"/>
                    <a:pt x="3626" y="1163"/>
                    <a:pt x="3626" y="1163"/>
                  </a:cubicBezTo>
                  <a:cubicBezTo>
                    <a:pt x="3626" y="1163"/>
                    <a:pt x="3623" y="1166"/>
                    <a:pt x="3620" y="1172"/>
                  </a:cubicBezTo>
                  <a:cubicBezTo>
                    <a:pt x="3619" y="1169"/>
                    <a:pt x="3619" y="1167"/>
                    <a:pt x="3619" y="1167"/>
                  </a:cubicBezTo>
                  <a:cubicBezTo>
                    <a:pt x="3619" y="1167"/>
                    <a:pt x="3602" y="1196"/>
                    <a:pt x="3590" y="1207"/>
                  </a:cubicBezTo>
                  <a:cubicBezTo>
                    <a:pt x="3588" y="1207"/>
                    <a:pt x="3586" y="1204"/>
                    <a:pt x="3587" y="1196"/>
                  </a:cubicBezTo>
                  <a:cubicBezTo>
                    <a:pt x="3589" y="1170"/>
                    <a:pt x="3580" y="1160"/>
                    <a:pt x="3574" y="1146"/>
                  </a:cubicBezTo>
                  <a:cubicBezTo>
                    <a:pt x="3565" y="1146"/>
                    <a:pt x="3565" y="1146"/>
                    <a:pt x="3565" y="1146"/>
                  </a:cubicBezTo>
                  <a:cubicBezTo>
                    <a:pt x="3564" y="1141"/>
                    <a:pt x="3563" y="1136"/>
                    <a:pt x="3563" y="1130"/>
                  </a:cubicBezTo>
                  <a:cubicBezTo>
                    <a:pt x="3563" y="1117"/>
                    <a:pt x="3557" y="1103"/>
                    <a:pt x="3548" y="1091"/>
                  </a:cubicBezTo>
                  <a:cubicBezTo>
                    <a:pt x="3558" y="1091"/>
                    <a:pt x="3558" y="1091"/>
                    <a:pt x="3558" y="1091"/>
                  </a:cubicBezTo>
                  <a:cubicBezTo>
                    <a:pt x="3546" y="1073"/>
                    <a:pt x="3527" y="1059"/>
                    <a:pt x="3507" y="1064"/>
                  </a:cubicBezTo>
                  <a:cubicBezTo>
                    <a:pt x="3475" y="1073"/>
                    <a:pt x="3446" y="1080"/>
                    <a:pt x="3386" y="1067"/>
                  </a:cubicBezTo>
                  <a:cubicBezTo>
                    <a:pt x="3326" y="1055"/>
                    <a:pt x="3302" y="1046"/>
                    <a:pt x="3252" y="1017"/>
                  </a:cubicBezTo>
                  <a:cubicBezTo>
                    <a:pt x="3247" y="1014"/>
                    <a:pt x="3241" y="1011"/>
                    <a:pt x="3236" y="1009"/>
                  </a:cubicBezTo>
                  <a:cubicBezTo>
                    <a:pt x="3217" y="1009"/>
                    <a:pt x="3217" y="1009"/>
                    <a:pt x="3217" y="1009"/>
                  </a:cubicBezTo>
                  <a:cubicBezTo>
                    <a:pt x="3203" y="1005"/>
                    <a:pt x="3192" y="1006"/>
                    <a:pt x="3182" y="1009"/>
                  </a:cubicBezTo>
                  <a:cubicBezTo>
                    <a:pt x="3175" y="1009"/>
                    <a:pt x="3175" y="1009"/>
                    <a:pt x="3175" y="1009"/>
                  </a:cubicBezTo>
                  <a:cubicBezTo>
                    <a:pt x="3171" y="1011"/>
                    <a:pt x="3166" y="1012"/>
                    <a:pt x="3161" y="1013"/>
                  </a:cubicBezTo>
                  <a:cubicBezTo>
                    <a:pt x="3156" y="1014"/>
                    <a:pt x="3153" y="1012"/>
                    <a:pt x="3151" y="1009"/>
                  </a:cubicBezTo>
                  <a:cubicBezTo>
                    <a:pt x="3141" y="1009"/>
                    <a:pt x="3141" y="1009"/>
                    <a:pt x="3141" y="1009"/>
                  </a:cubicBezTo>
                  <a:cubicBezTo>
                    <a:pt x="3133" y="994"/>
                    <a:pt x="3132" y="965"/>
                    <a:pt x="3114" y="954"/>
                  </a:cubicBezTo>
                  <a:cubicBezTo>
                    <a:pt x="3127" y="954"/>
                    <a:pt x="3127" y="954"/>
                    <a:pt x="3127" y="954"/>
                  </a:cubicBezTo>
                  <a:cubicBezTo>
                    <a:pt x="3124" y="951"/>
                    <a:pt x="3120" y="948"/>
                    <a:pt x="3115" y="947"/>
                  </a:cubicBezTo>
                  <a:cubicBezTo>
                    <a:pt x="3083" y="938"/>
                    <a:pt x="3104" y="929"/>
                    <a:pt x="3096" y="875"/>
                  </a:cubicBezTo>
                  <a:cubicBezTo>
                    <a:pt x="3096" y="874"/>
                    <a:pt x="3096" y="873"/>
                    <a:pt x="3096" y="872"/>
                  </a:cubicBezTo>
                  <a:cubicBezTo>
                    <a:pt x="3089" y="872"/>
                    <a:pt x="3089" y="872"/>
                    <a:pt x="3089" y="872"/>
                  </a:cubicBezTo>
                  <a:cubicBezTo>
                    <a:pt x="3083" y="841"/>
                    <a:pt x="3076" y="835"/>
                    <a:pt x="3094" y="817"/>
                  </a:cubicBezTo>
                  <a:cubicBezTo>
                    <a:pt x="3097" y="817"/>
                    <a:pt x="3097" y="817"/>
                    <a:pt x="3097" y="817"/>
                  </a:cubicBezTo>
                  <a:cubicBezTo>
                    <a:pt x="3104" y="808"/>
                    <a:pt x="3119" y="797"/>
                    <a:pt x="3147" y="776"/>
                  </a:cubicBezTo>
                  <a:cubicBezTo>
                    <a:pt x="3169" y="760"/>
                    <a:pt x="3183" y="746"/>
                    <a:pt x="3194" y="735"/>
                  </a:cubicBezTo>
                  <a:cubicBezTo>
                    <a:pt x="3192" y="735"/>
                    <a:pt x="3192" y="735"/>
                    <a:pt x="3192" y="735"/>
                  </a:cubicBezTo>
                  <a:cubicBezTo>
                    <a:pt x="3218" y="708"/>
                    <a:pt x="3226" y="694"/>
                    <a:pt x="3267" y="689"/>
                  </a:cubicBezTo>
                  <a:cubicBezTo>
                    <a:pt x="3327" y="680"/>
                    <a:pt x="3349" y="726"/>
                    <a:pt x="3349" y="705"/>
                  </a:cubicBezTo>
                  <a:cubicBezTo>
                    <a:pt x="3349" y="701"/>
                    <a:pt x="3350" y="691"/>
                    <a:pt x="3351" y="680"/>
                  </a:cubicBezTo>
                  <a:cubicBezTo>
                    <a:pt x="3357" y="680"/>
                    <a:pt x="3357" y="680"/>
                    <a:pt x="3357" y="680"/>
                  </a:cubicBezTo>
                  <a:cubicBezTo>
                    <a:pt x="3360" y="659"/>
                    <a:pt x="3365" y="632"/>
                    <a:pt x="3369" y="615"/>
                  </a:cubicBezTo>
                  <a:cubicBezTo>
                    <a:pt x="3371" y="655"/>
                    <a:pt x="3439" y="660"/>
                    <a:pt x="3408" y="689"/>
                  </a:cubicBezTo>
                  <a:cubicBezTo>
                    <a:pt x="3376" y="718"/>
                    <a:pt x="3394" y="722"/>
                    <a:pt x="3418" y="722"/>
                  </a:cubicBezTo>
                  <a:cubicBezTo>
                    <a:pt x="3443" y="722"/>
                    <a:pt x="3489" y="693"/>
                    <a:pt x="3489" y="693"/>
                  </a:cubicBezTo>
                  <a:cubicBezTo>
                    <a:pt x="3489" y="693"/>
                    <a:pt x="3545" y="664"/>
                    <a:pt x="3559" y="689"/>
                  </a:cubicBezTo>
                  <a:cubicBezTo>
                    <a:pt x="3573" y="714"/>
                    <a:pt x="3573" y="739"/>
                    <a:pt x="3598" y="739"/>
                  </a:cubicBezTo>
                  <a:cubicBezTo>
                    <a:pt x="3621" y="739"/>
                    <a:pt x="3670" y="708"/>
                    <a:pt x="3633" y="680"/>
                  </a:cubicBezTo>
                  <a:cubicBezTo>
                    <a:pt x="3645" y="680"/>
                    <a:pt x="3645" y="680"/>
                    <a:pt x="3645" y="680"/>
                  </a:cubicBezTo>
                  <a:cubicBezTo>
                    <a:pt x="3642" y="677"/>
                    <a:pt x="3640" y="674"/>
                    <a:pt x="3636" y="672"/>
                  </a:cubicBezTo>
                  <a:cubicBezTo>
                    <a:pt x="3590" y="643"/>
                    <a:pt x="3562" y="647"/>
                    <a:pt x="3534" y="614"/>
                  </a:cubicBezTo>
                  <a:cubicBezTo>
                    <a:pt x="3527" y="606"/>
                    <a:pt x="3523" y="601"/>
                    <a:pt x="3519" y="597"/>
                  </a:cubicBezTo>
                  <a:cubicBezTo>
                    <a:pt x="3507" y="597"/>
                    <a:pt x="3507" y="597"/>
                    <a:pt x="3507" y="597"/>
                  </a:cubicBezTo>
                  <a:cubicBezTo>
                    <a:pt x="3503" y="596"/>
                    <a:pt x="3501" y="596"/>
                    <a:pt x="3497" y="597"/>
                  </a:cubicBezTo>
                  <a:cubicBezTo>
                    <a:pt x="3493" y="597"/>
                    <a:pt x="3493" y="597"/>
                    <a:pt x="3493" y="597"/>
                  </a:cubicBezTo>
                  <a:cubicBezTo>
                    <a:pt x="3490" y="599"/>
                    <a:pt x="3486" y="600"/>
                    <a:pt x="3481" y="601"/>
                  </a:cubicBezTo>
                  <a:cubicBezTo>
                    <a:pt x="3464" y="606"/>
                    <a:pt x="3456" y="602"/>
                    <a:pt x="3451" y="597"/>
                  </a:cubicBezTo>
                  <a:cubicBezTo>
                    <a:pt x="3440" y="597"/>
                    <a:pt x="3440" y="597"/>
                    <a:pt x="3440" y="597"/>
                  </a:cubicBezTo>
                  <a:cubicBezTo>
                    <a:pt x="3438" y="595"/>
                    <a:pt x="3435" y="593"/>
                    <a:pt x="3432" y="593"/>
                  </a:cubicBezTo>
                  <a:cubicBezTo>
                    <a:pt x="3422" y="593"/>
                    <a:pt x="3404" y="601"/>
                    <a:pt x="3397" y="585"/>
                  </a:cubicBezTo>
                  <a:cubicBezTo>
                    <a:pt x="3390" y="568"/>
                    <a:pt x="3401" y="564"/>
                    <a:pt x="3436" y="564"/>
                  </a:cubicBezTo>
                  <a:cubicBezTo>
                    <a:pt x="3471" y="564"/>
                    <a:pt x="3513" y="576"/>
                    <a:pt x="3513" y="576"/>
                  </a:cubicBezTo>
                  <a:cubicBezTo>
                    <a:pt x="3513" y="576"/>
                    <a:pt x="3556" y="560"/>
                    <a:pt x="3566" y="556"/>
                  </a:cubicBezTo>
                  <a:cubicBezTo>
                    <a:pt x="3573" y="553"/>
                    <a:pt x="3597" y="549"/>
                    <a:pt x="3612" y="537"/>
                  </a:cubicBezTo>
                  <a:cubicBezTo>
                    <a:pt x="3625" y="529"/>
                    <a:pt x="3634" y="519"/>
                    <a:pt x="3629" y="501"/>
                  </a:cubicBezTo>
                  <a:cubicBezTo>
                    <a:pt x="3621" y="474"/>
                    <a:pt x="3601" y="467"/>
                    <a:pt x="3586" y="460"/>
                  </a:cubicBezTo>
                  <a:cubicBezTo>
                    <a:pt x="3571" y="460"/>
                    <a:pt x="3571" y="460"/>
                    <a:pt x="3571" y="460"/>
                  </a:cubicBezTo>
                  <a:cubicBezTo>
                    <a:pt x="3569" y="459"/>
                    <a:pt x="3567" y="457"/>
                    <a:pt x="3566" y="456"/>
                  </a:cubicBezTo>
                  <a:cubicBezTo>
                    <a:pt x="3556" y="443"/>
                    <a:pt x="3587" y="427"/>
                    <a:pt x="3605" y="418"/>
                  </a:cubicBezTo>
                  <a:cubicBezTo>
                    <a:pt x="3622" y="410"/>
                    <a:pt x="3672" y="418"/>
                    <a:pt x="3672" y="418"/>
                  </a:cubicBezTo>
                  <a:cubicBezTo>
                    <a:pt x="3672" y="418"/>
                    <a:pt x="3703" y="422"/>
                    <a:pt x="3703" y="406"/>
                  </a:cubicBezTo>
                  <a:cubicBezTo>
                    <a:pt x="3703" y="406"/>
                    <a:pt x="3703" y="405"/>
                    <a:pt x="3703" y="405"/>
                  </a:cubicBezTo>
                  <a:cubicBezTo>
                    <a:pt x="3709" y="405"/>
                    <a:pt x="3709" y="405"/>
                    <a:pt x="3709" y="405"/>
                  </a:cubicBezTo>
                  <a:cubicBezTo>
                    <a:pt x="3709" y="404"/>
                    <a:pt x="3710" y="403"/>
                    <a:pt x="3710" y="402"/>
                  </a:cubicBezTo>
                  <a:cubicBezTo>
                    <a:pt x="3710" y="393"/>
                    <a:pt x="3708" y="383"/>
                    <a:pt x="3709" y="377"/>
                  </a:cubicBezTo>
                  <a:cubicBezTo>
                    <a:pt x="3711" y="378"/>
                    <a:pt x="3714" y="379"/>
                    <a:pt x="3718" y="381"/>
                  </a:cubicBezTo>
                  <a:cubicBezTo>
                    <a:pt x="3739" y="393"/>
                    <a:pt x="3718" y="431"/>
                    <a:pt x="3749" y="422"/>
                  </a:cubicBezTo>
                  <a:cubicBezTo>
                    <a:pt x="3781" y="414"/>
                    <a:pt x="3788" y="422"/>
                    <a:pt x="3806" y="435"/>
                  </a:cubicBezTo>
                  <a:cubicBezTo>
                    <a:pt x="3822" y="446"/>
                    <a:pt x="3805" y="490"/>
                    <a:pt x="3789" y="503"/>
                  </a:cubicBezTo>
                  <a:cubicBezTo>
                    <a:pt x="3783" y="505"/>
                    <a:pt x="3778" y="508"/>
                    <a:pt x="3773" y="512"/>
                  </a:cubicBezTo>
                  <a:cubicBezTo>
                    <a:pt x="3758" y="520"/>
                    <a:pt x="3747" y="531"/>
                    <a:pt x="3777" y="535"/>
                  </a:cubicBezTo>
                  <a:cubicBezTo>
                    <a:pt x="3816" y="539"/>
                    <a:pt x="3844" y="539"/>
                    <a:pt x="3844" y="539"/>
                  </a:cubicBezTo>
                  <a:cubicBezTo>
                    <a:pt x="3844" y="539"/>
                    <a:pt x="3846" y="537"/>
                    <a:pt x="3848" y="535"/>
                  </a:cubicBezTo>
                  <a:cubicBezTo>
                    <a:pt x="3850" y="535"/>
                    <a:pt x="3851" y="535"/>
                    <a:pt x="3851" y="535"/>
                  </a:cubicBezTo>
                  <a:cubicBezTo>
                    <a:pt x="3851" y="535"/>
                    <a:pt x="3875" y="506"/>
                    <a:pt x="3886" y="481"/>
                  </a:cubicBezTo>
                  <a:cubicBezTo>
                    <a:pt x="3888" y="477"/>
                    <a:pt x="3889" y="475"/>
                    <a:pt x="3891" y="472"/>
                  </a:cubicBezTo>
                  <a:cubicBezTo>
                    <a:pt x="3901" y="470"/>
                    <a:pt x="3912" y="479"/>
                    <a:pt x="3922" y="485"/>
                  </a:cubicBezTo>
                  <a:cubicBezTo>
                    <a:pt x="3933" y="492"/>
                    <a:pt x="3970" y="501"/>
                    <a:pt x="3957" y="513"/>
                  </a:cubicBezTo>
                  <a:cubicBezTo>
                    <a:pt x="3954" y="515"/>
                    <a:pt x="3951" y="516"/>
                    <a:pt x="3946" y="518"/>
                  </a:cubicBezTo>
                  <a:cubicBezTo>
                    <a:pt x="3930" y="524"/>
                    <a:pt x="3918" y="529"/>
                    <a:pt x="3909" y="536"/>
                  </a:cubicBezTo>
                  <a:cubicBezTo>
                    <a:pt x="3909" y="536"/>
                    <a:pt x="3909" y="536"/>
                    <a:pt x="3909" y="536"/>
                  </a:cubicBezTo>
                  <a:cubicBezTo>
                    <a:pt x="3909" y="536"/>
                    <a:pt x="3908" y="536"/>
                    <a:pt x="3908" y="536"/>
                  </a:cubicBezTo>
                  <a:cubicBezTo>
                    <a:pt x="3885" y="550"/>
                    <a:pt x="3877" y="565"/>
                    <a:pt x="3869" y="581"/>
                  </a:cubicBezTo>
                  <a:cubicBezTo>
                    <a:pt x="3865" y="588"/>
                    <a:pt x="3862" y="594"/>
                    <a:pt x="3858" y="599"/>
                  </a:cubicBezTo>
                  <a:cubicBezTo>
                    <a:pt x="3850" y="603"/>
                    <a:pt x="3838" y="603"/>
                    <a:pt x="3816" y="597"/>
                  </a:cubicBezTo>
                  <a:cubicBezTo>
                    <a:pt x="3789" y="597"/>
                    <a:pt x="3789" y="597"/>
                    <a:pt x="3789" y="597"/>
                  </a:cubicBezTo>
                  <a:cubicBezTo>
                    <a:pt x="3773" y="594"/>
                    <a:pt x="3759" y="594"/>
                    <a:pt x="3750" y="597"/>
                  </a:cubicBezTo>
                  <a:cubicBezTo>
                    <a:pt x="3745" y="597"/>
                    <a:pt x="3745" y="597"/>
                    <a:pt x="3745" y="597"/>
                  </a:cubicBezTo>
                  <a:cubicBezTo>
                    <a:pt x="3744" y="598"/>
                    <a:pt x="3744" y="599"/>
                    <a:pt x="3743" y="600"/>
                  </a:cubicBezTo>
                  <a:cubicBezTo>
                    <a:pt x="3737" y="603"/>
                    <a:pt x="3731" y="607"/>
                    <a:pt x="3728" y="614"/>
                  </a:cubicBezTo>
                  <a:cubicBezTo>
                    <a:pt x="3718" y="635"/>
                    <a:pt x="3725" y="701"/>
                    <a:pt x="3742" y="693"/>
                  </a:cubicBezTo>
                  <a:cubicBezTo>
                    <a:pt x="3760" y="685"/>
                    <a:pt x="3777" y="685"/>
                    <a:pt x="3799" y="676"/>
                  </a:cubicBezTo>
                  <a:cubicBezTo>
                    <a:pt x="3820" y="668"/>
                    <a:pt x="3904" y="685"/>
                    <a:pt x="3925" y="680"/>
                  </a:cubicBezTo>
                  <a:cubicBezTo>
                    <a:pt x="3946" y="676"/>
                    <a:pt x="3981" y="722"/>
                    <a:pt x="3992" y="714"/>
                  </a:cubicBezTo>
                  <a:cubicBezTo>
                    <a:pt x="4003" y="705"/>
                    <a:pt x="4024" y="730"/>
                    <a:pt x="4045" y="747"/>
                  </a:cubicBezTo>
                  <a:cubicBezTo>
                    <a:pt x="4052" y="753"/>
                    <a:pt x="4056" y="750"/>
                    <a:pt x="4059" y="746"/>
                  </a:cubicBezTo>
                  <a:cubicBezTo>
                    <a:pt x="4064" y="745"/>
                    <a:pt x="4067" y="740"/>
                    <a:pt x="4071" y="735"/>
                  </a:cubicBezTo>
                  <a:cubicBezTo>
                    <a:pt x="4069" y="735"/>
                    <a:pt x="4069" y="735"/>
                    <a:pt x="4069" y="735"/>
                  </a:cubicBezTo>
                  <a:cubicBezTo>
                    <a:pt x="4075" y="730"/>
                    <a:pt x="4083" y="730"/>
                    <a:pt x="4098" y="743"/>
                  </a:cubicBezTo>
                  <a:cubicBezTo>
                    <a:pt x="4136" y="776"/>
                    <a:pt x="4115" y="776"/>
                    <a:pt x="4136" y="776"/>
                  </a:cubicBezTo>
                  <a:cubicBezTo>
                    <a:pt x="4158" y="776"/>
                    <a:pt x="4203" y="780"/>
                    <a:pt x="4203" y="780"/>
                  </a:cubicBezTo>
                  <a:cubicBezTo>
                    <a:pt x="4203" y="780"/>
                    <a:pt x="4204" y="778"/>
                    <a:pt x="4204" y="775"/>
                  </a:cubicBezTo>
                  <a:cubicBezTo>
                    <a:pt x="4208" y="776"/>
                    <a:pt x="4210" y="776"/>
                    <a:pt x="4210" y="776"/>
                  </a:cubicBezTo>
                  <a:cubicBezTo>
                    <a:pt x="4210" y="776"/>
                    <a:pt x="4212" y="758"/>
                    <a:pt x="4223" y="748"/>
                  </a:cubicBezTo>
                  <a:cubicBezTo>
                    <a:pt x="4228" y="746"/>
                    <a:pt x="4234" y="745"/>
                    <a:pt x="4242" y="747"/>
                  </a:cubicBezTo>
                  <a:cubicBezTo>
                    <a:pt x="4274" y="754"/>
                    <a:pt x="4303" y="792"/>
                    <a:pt x="4305" y="774"/>
                  </a:cubicBezTo>
                  <a:cubicBezTo>
                    <a:pt x="4310" y="776"/>
                    <a:pt x="4313" y="774"/>
                    <a:pt x="4312" y="763"/>
                  </a:cubicBezTo>
                  <a:cubicBezTo>
                    <a:pt x="4311" y="753"/>
                    <a:pt x="4311" y="744"/>
                    <a:pt x="4310" y="735"/>
                  </a:cubicBezTo>
                  <a:cubicBezTo>
                    <a:pt x="4304" y="735"/>
                    <a:pt x="4304" y="735"/>
                    <a:pt x="4304" y="735"/>
                  </a:cubicBezTo>
                  <a:cubicBezTo>
                    <a:pt x="4302" y="716"/>
                    <a:pt x="4299" y="700"/>
                    <a:pt x="4281" y="685"/>
                  </a:cubicBezTo>
                  <a:cubicBezTo>
                    <a:pt x="4279" y="683"/>
                    <a:pt x="4277" y="681"/>
                    <a:pt x="4275" y="680"/>
                  </a:cubicBezTo>
                  <a:cubicBezTo>
                    <a:pt x="4287" y="680"/>
                    <a:pt x="4287" y="680"/>
                    <a:pt x="4287" y="680"/>
                  </a:cubicBezTo>
                  <a:cubicBezTo>
                    <a:pt x="4258" y="655"/>
                    <a:pt x="4213" y="639"/>
                    <a:pt x="4206" y="626"/>
                  </a:cubicBezTo>
                  <a:cubicBezTo>
                    <a:pt x="4201" y="617"/>
                    <a:pt x="4196" y="606"/>
                    <a:pt x="4198" y="597"/>
                  </a:cubicBezTo>
                  <a:cubicBezTo>
                    <a:pt x="4194" y="597"/>
                    <a:pt x="4194" y="597"/>
                    <a:pt x="4194" y="597"/>
                  </a:cubicBezTo>
                  <a:cubicBezTo>
                    <a:pt x="4194" y="596"/>
                    <a:pt x="4195" y="594"/>
                    <a:pt x="4196" y="593"/>
                  </a:cubicBezTo>
                  <a:cubicBezTo>
                    <a:pt x="4207" y="585"/>
                    <a:pt x="4256" y="597"/>
                    <a:pt x="4284" y="618"/>
                  </a:cubicBezTo>
                  <a:cubicBezTo>
                    <a:pt x="4313" y="639"/>
                    <a:pt x="4337" y="660"/>
                    <a:pt x="4358" y="643"/>
                  </a:cubicBezTo>
                  <a:cubicBezTo>
                    <a:pt x="4360" y="642"/>
                    <a:pt x="4361" y="641"/>
                    <a:pt x="4363" y="640"/>
                  </a:cubicBezTo>
                  <a:cubicBezTo>
                    <a:pt x="4364" y="639"/>
                    <a:pt x="4364" y="639"/>
                    <a:pt x="4365" y="639"/>
                  </a:cubicBezTo>
                  <a:cubicBezTo>
                    <a:pt x="4369" y="636"/>
                    <a:pt x="4373" y="633"/>
                    <a:pt x="4377" y="631"/>
                  </a:cubicBezTo>
                  <a:cubicBezTo>
                    <a:pt x="4387" y="624"/>
                    <a:pt x="4398" y="619"/>
                    <a:pt x="4405" y="613"/>
                  </a:cubicBezTo>
                  <a:cubicBezTo>
                    <a:pt x="4412" y="609"/>
                    <a:pt x="4418" y="606"/>
                    <a:pt x="4421" y="601"/>
                  </a:cubicBezTo>
                  <a:cubicBezTo>
                    <a:pt x="4422" y="600"/>
                    <a:pt x="4423" y="599"/>
                    <a:pt x="4424" y="597"/>
                  </a:cubicBezTo>
                  <a:cubicBezTo>
                    <a:pt x="4421" y="597"/>
                    <a:pt x="4421" y="597"/>
                    <a:pt x="4421" y="597"/>
                  </a:cubicBezTo>
                  <a:cubicBezTo>
                    <a:pt x="4433" y="581"/>
                    <a:pt x="4450" y="556"/>
                    <a:pt x="4450" y="556"/>
                  </a:cubicBezTo>
                  <a:cubicBezTo>
                    <a:pt x="4450" y="556"/>
                    <a:pt x="4417" y="550"/>
                    <a:pt x="4386" y="542"/>
                  </a:cubicBezTo>
                  <a:cubicBezTo>
                    <a:pt x="4410" y="542"/>
                    <a:pt x="4410" y="542"/>
                    <a:pt x="4410" y="542"/>
                  </a:cubicBezTo>
                  <a:cubicBezTo>
                    <a:pt x="4380" y="536"/>
                    <a:pt x="4344" y="525"/>
                    <a:pt x="4337" y="514"/>
                  </a:cubicBezTo>
                  <a:cubicBezTo>
                    <a:pt x="4323" y="493"/>
                    <a:pt x="4273" y="464"/>
                    <a:pt x="4259" y="464"/>
                  </a:cubicBezTo>
                  <a:cubicBezTo>
                    <a:pt x="4246" y="464"/>
                    <a:pt x="4213" y="488"/>
                    <a:pt x="4197" y="460"/>
                  </a:cubicBezTo>
                  <a:cubicBezTo>
                    <a:pt x="4188" y="460"/>
                    <a:pt x="4188" y="460"/>
                    <a:pt x="4188" y="460"/>
                  </a:cubicBezTo>
                  <a:cubicBezTo>
                    <a:pt x="4187" y="459"/>
                    <a:pt x="4186" y="458"/>
                    <a:pt x="4186" y="456"/>
                  </a:cubicBezTo>
                  <a:cubicBezTo>
                    <a:pt x="4180" y="439"/>
                    <a:pt x="4177" y="421"/>
                    <a:pt x="4174" y="405"/>
                  </a:cubicBezTo>
                  <a:cubicBezTo>
                    <a:pt x="4181" y="405"/>
                    <a:pt x="4181" y="405"/>
                    <a:pt x="4181" y="405"/>
                  </a:cubicBezTo>
                  <a:cubicBezTo>
                    <a:pt x="4176" y="380"/>
                    <a:pt x="4173" y="358"/>
                    <a:pt x="4164" y="356"/>
                  </a:cubicBezTo>
                  <a:cubicBezTo>
                    <a:pt x="4153" y="352"/>
                    <a:pt x="4056" y="336"/>
                    <a:pt x="4007" y="323"/>
                  </a:cubicBezTo>
                  <a:cubicBezTo>
                    <a:pt x="3985" y="323"/>
                    <a:pt x="3985" y="323"/>
                    <a:pt x="3985" y="323"/>
                  </a:cubicBezTo>
                  <a:cubicBezTo>
                    <a:pt x="3981" y="321"/>
                    <a:pt x="3977" y="320"/>
                    <a:pt x="3975" y="318"/>
                  </a:cubicBezTo>
                  <a:cubicBezTo>
                    <a:pt x="3957" y="308"/>
                    <a:pt x="3897" y="287"/>
                    <a:pt x="3859" y="268"/>
                  </a:cubicBezTo>
                  <a:cubicBezTo>
                    <a:pt x="3874" y="268"/>
                    <a:pt x="3874" y="268"/>
                    <a:pt x="3874" y="268"/>
                  </a:cubicBezTo>
                  <a:cubicBezTo>
                    <a:pt x="3862" y="262"/>
                    <a:pt x="3851" y="257"/>
                    <a:pt x="3844" y="252"/>
                  </a:cubicBezTo>
                  <a:cubicBezTo>
                    <a:pt x="3812" y="231"/>
                    <a:pt x="3766" y="202"/>
                    <a:pt x="3738" y="202"/>
                  </a:cubicBezTo>
                  <a:cubicBezTo>
                    <a:pt x="3710" y="202"/>
                    <a:pt x="3594" y="219"/>
                    <a:pt x="3573" y="214"/>
                  </a:cubicBezTo>
                  <a:cubicBezTo>
                    <a:pt x="3552" y="210"/>
                    <a:pt x="3488" y="223"/>
                    <a:pt x="3464" y="227"/>
                  </a:cubicBezTo>
                  <a:cubicBezTo>
                    <a:pt x="3460" y="227"/>
                    <a:pt x="3459" y="229"/>
                    <a:pt x="3458" y="231"/>
                  </a:cubicBezTo>
                  <a:cubicBezTo>
                    <a:pt x="3458" y="231"/>
                    <a:pt x="3457" y="231"/>
                    <a:pt x="3457" y="231"/>
                  </a:cubicBezTo>
                  <a:cubicBezTo>
                    <a:pt x="3432" y="235"/>
                    <a:pt x="3489" y="289"/>
                    <a:pt x="3436" y="302"/>
                  </a:cubicBezTo>
                  <a:cubicBezTo>
                    <a:pt x="3386" y="314"/>
                    <a:pt x="3390" y="321"/>
                    <a:pt x="3399" y="268"/>
                  </a:cubicBezTo>
                  <a:cubicBezTo>
                    <a:pt x="3405" y="268"/>
                    <a:pt x="3405" y="268"/>
                    <a:pt x="3405" y="268"/>
                  </a:cubicBezTo>
                  <a:cubicBezTo>
                    <a:pt x="3406" y="264"/>
                    <a:pt x="3406" y="261"/>
                    <a:pt x="3407" y="256"/>
                  </a:cubicBezTo>
                  <a:cubicBezTo>
                    <a:pt x="3418" y="194"/>
                    <a:pt x="3372" y="177"/>
                    <a:pt x="3326" y="202"/>
                  </a:cubicBezTo>
                  <a:cubicBezTo>
                    <a:pt x="3298" y="217"/>
                    <a:pt x="3261" y="229"/>
                    <a:pt x="3239" y="243"/>
                  </a:cubicBezTo>
                  <a:cubicBezTo>
                    <a:pt x="3221" y="253"/>
                    <a:pt x="3210" y="264"/>
                    <a:pt x="3218" y="277"/>
                  </a:cubicBezTo>
                  <a:cubicBezTo>
                    <a:pt x="3235" y="306"/>
                    <a:pt x="3214" y="327"/>
                    <a:pt x="3249" y="356"/>
                  </a:cubicBezTo>
                  <a:cubicBezTo>
                    <a:pt x="3284" y="385"/>
                    <a:pt x="3299" y="393"/>
                    <a:pt x="3344" y="389"/>
                  </a:cubicBezTo>
                  <a:cubicBezTo>
                    <a:pt x="3390" y="385"/>
                    <a:pt x="3436" y="398"/>
                    <a:pt x="3436" y="398"/>
                  </a:cubicBezTo>
                  <a:cubicBezTo>
                    <a:pt x="3436" y="398"/>
                    <a:pt x="3436" y="447"/>
                    <a:pt x="3418" y="456"/>
                  </a:cubicBezTo>
                  <a:cubicBezTo>
                    <a:pt x="3415" y="458"/>
                    <a:pt x="3411" y="459"/>
                    <a:pt x="3406" y="460"/>
                  </a:cubicBezTo>
                  <a:cubicBezTo>
                    <a:pt x="3400" y="460"/>
                    <a:pt x="3400" y="460"/>
                    <a:pt x="3400" y="460"/>
                  </a:cubicBezTo>
                  <a:cubicBezTo>
                    <a:pt x="3393" y="462"/>
                    <a:pt x="3387" y="465"/>
                    <a:pt x="3381" y="470"/>
                  </a:cubicBezTo>
                  <a:cubicBezTo>
                    <a:pt x="3374" y="474"/>
                    <a:pt x="3368" y="480"/>
                    <a:pt x="3365" y="489"/>
                  </a:cubicBezTo>
                  <a:cubicBezTo>
                    <a:pt x="3363" y="498"/>
                    <a:pt x="3357" y="505"/>
                    <a:pt x="3350" y="510"/>
                  </a:cubicBezTo>
                  <a:cubicBezTo>
                    <a:pt x="3340" y="516"/>
                    <a:pt x="3330" y="516"/>
                    <a:pt x="3330" y="510"/>
                  </a:cubicBezTo>
                  <a:cubicBezTo>
                    <a:pt x="3330" y="501"/>
                    <a:pt x="3338" y="480"/>
                    <a:pt x="3335" y="460"/>
                  </a:cubicBezTo>
                  <a:cubicBezTo>
                    <a:pt x="3328" y="460"/>
                    <a:pt x="3328" y="460"/>
                    <a:pt x="3328" y="460"/>
                  </a:cubicBezTo>
                  <a:cubicBezTo>
                    <a:pt x="3326" y="452"/>
                    <a:pt x="3323" y="445"/>
                    <a:pt x="3316" y="439"/>
                  </a:cubicBezTo>
                  <a:cubicBezTo>
                    <a:pt x="3292" y="418"/>
                    <a:pt x="3284" y="414"/>
                    <a:pt x="3256" y="435"/>
                  </a:cubicBezTo>
                  <a:cubicBezTo>
                    <a:pt x="3228" y="456"/>
                    <a:pt x="3225" y="464"/>
                    <a:pt x="3211" y="431"/>
                  </a:cubicBezTo>
                  <a:cubicBezTo>
                    <a:pt x="3207" y="422"/>
                    <a:pt x="3201" y="413"/>
                    <a:pt x="3194" y="405"/>
                  </a:cubicBezTo>
                  <a:cubicBezTo>
                    <a:pt x="3204" y="405"/>
                    <a:pt x="3204" y="405"/>
                    <a:pt x="3204" y="405"/>
                  </a:cubicBezTo>
                  <a:cubicBezTo>
                    <a:pt x="3186" y="382"/>
                    <a:pt x="3161" y="364"/>
                    <a:pt x="3161" y="364"/>
                  </a:cubicBezTo>
                  <a:cubicBezTo>
                    <a:pt x="3161" y="364"/>
                    <a:pt x="3146" y="343"/>
                    <a:pt x="3130" y="323"/>
                  </a:cubicBezTo>
                  <a:cubicBezTo>
                    <a:pt x="3120" y="323"/>
                    <a:pt x="3120" y="323"/>
                    <a:pt x="3120" y="323"/>
                  </a:cubicBezTo>
                  <a:cubicBezTo>
                    <a:pt x="3115" y="317"/>
                    <a:pt x="3110" y="311"/>
                    <a:pt x="3105" y="306"/>
                  </a:cubicBezTo>
                  <a:cubicBezTo>
                    <a:pt x="3084" y="285"/>
                    <a:pt x="3045" y="289"/>
                    <a:pt x="3042" y="310"/>
                  </a:cubicBezTo>
                  <a:cubicBezTo>
                    <a:pt x="3038" y="331"/>
                    <a:pt x="3049" y="352"/>
                    <a:pt x="3063" y="389"/>
                  </a:cubicBezTo>
                  <a:cubicBezTo>
                    <a:pt x="3074" y="420"/>
                    <a:pt x="3080" y="458"/>
                    <a:pt x="3068" y="472"/>
                  </a:cubicBezTo>
                  <a:cubicBezTo>
                    <a:pt x="3067" y="473"/>
                    <a:pt x="3066" y="474"/>
                    <a:pt x="3065" y="474"/>
                  </a:cubicBezTo>
                  <a:cubicBezTo>
                    <a:pt x="3059" y="475"/>
                    <a:pt x="3055" y="477"/>
                    <a:pt x="3051" y="480"/>
                  </a:cubicBezTo>
                  <a:cubicBezTo>
                    <a:pt x="3038" y="487"/>
                    <a:pt x="3035" y="502"/>
                    <a:pt x="3024" y="512"/>
                  </a:cubicBezTo>
                  <a:cubicBezTo>
                    <a:pt x="3023" y="513"/>
                    <a:pt x="3022" y="513"/>
                    <a:pt x="3020" y="514"/>
                  </a:cubicBezTo>
                  <a:cubicBezTo>
                    <a:pt x="2995" y="522"/>
                    <a:pt x="2985" y="501"/>
                    <a:pt x="2985" y="468"/>
                  </a:cubicBezTo>
                  <a:cubicBezTo>
                    <a:pt x="2985" y="465"/>
                    <a:pt x="2984" y="463"/>
                    <a:pt x="2984" y="460"/>
                  </a:cubicBezTo>
                  <a:cubicBezTo>
                    <a:pt x="2977" y="460"/>
                    <a:pt x="2977" y="460"/>
                    <a:pt x="2977" y="460"/>
                  </a:cubicBezTo>
                  <a:cubicBezTo>
                    <a:pt x="2976" y="437"/>
                    <a:pt x="2972" y="418"/>
                    <a:pt x="2973" y="405"/>
                  </a:cubicBezTo>
                  <a:cubicBezTo>
                    <a:pt x="2979" y="405"/>
                    <a:pt x="2979" y="405"/>
                    <a:pt x="2979" y="405"/>
                  </a:cubicBezTo>
                  <a:cubicBezTo>
                    <a:pt x="2979" y="400"/>
                    <a:pt x="2980" y="396"/>
                    <a:pt x="2981" y="393"/>
                  </a:cubicBezTo>
                  <a:cubicBezTo>
                    <a:pt x="2988" y="381"/>
                    <a:pt x="2953" y="402"/>
                    <a:pt x="2918" y="393"/>
                  </a:cubicBezTo>
                  <a:cubicBezTo>
                    <a:pt x="2901" y="389"/>
                    <a:pt x="2886" y="393"/>
                    <a:pt x="2878" y="400"/>
                  </a:cubicBezTo>
                  <a:cubicBezTo>
                    <a:pt x="2864" y="406"/>
                    <a:pt x="2861" y="419"/>
                    <a:pt x="2883" y="427"/>
                  </a:cubicBezTo>
                  <a:cubicBezTo>
                    <a:pt x="2914" y="438"/>
                    <a:pt x="2923" y="477"/>
                    <a:pt x="2904" y="495"/>
                  </a:cubicBezTo>
                  <a:cubicBezTo>
                    <a:pt x="2903" y="496"/>
                    <a:pt x="2902" y="497"/>
                    <a:pt x="2900" y="497"/>
                  </a:cubicBezTo>
                  <a:cubicBezTo>
                    <a:pt x="2869" y="510"/>
                    <a:pt x="2749" y="497"/>
                    <a:pt x="2710" y="497"/>
                  </a:cubicBezTo>
                  <a:cubicBezTo>
                    <a:pt x="2671" y="497"/>
                    <a:pt x="2615" y="510"/>
                    <a:pt x="2605" y="485"/>
                  </a:cubicBezTo>
                  <a:cubicBezTo>
                    <a:pt x="2600" y="475"/>
                    <a:pt x="2604" y="467"/>
                    <a:pt x="2612" y="460"/>
                  </a:cubicBezTo>
                  <a:cubicBezTo>
                    <a:pt x="2611" y="460"/>
                    <a:pt x="2611" y="460"/>
                    <a:pt x="2611" y="460"/>
                  </a:cubicBezTo>
                  <a:cubicBezTo>
                    <a:pt x="2624" y="452"/>
                    <a:pt x="2641" y="447"/>
                    <a:pt x="2654" y="447"/>
                  </a:cubicBezTo>
                  <a:cubicBezTo>
                    <a:pt x="2679" y="447"/>
                    <a:pt x="2753" y="452"/>
                    <a:pt x="2781" y="406"/>
                  </a:cubicBezTo>
                  <a:cubicBezTo>
                    <a:pt x="2781" y="406"/>
                    <a:pt x="2781" y="405"/>
                    <a:pt x="2781" y="405"/>
                  </a:cubicBezTo>
                  <a:cubicBezTo>
                    <a:pt x="2785" y="405"/>
                    <a:pt x="2785" y="405"/>
                    <a:pt x="2785" y="405"/>
                  </a:cubicBezTo>
                  <a:cubicBezTo>
                    <a:pt x="2785" y="404"/>
                    <a:pt x="2787" y="403"/>
                    <a:pt x="2788" y="402"/>
                  </a:cubicBezTo>
                  <a:cubicBezTo>
                    <a:pt x="2816" y="356"/>
                    <a:pt x="2752" y="348"/>
                    <a:pt x="2724" y="348"/>
                  </a:cubicBezTo>
                  <a:cubicBezTo>
                    <a:pt x="2704" y="348"/>
                    <a:pt x="2687" y="341"/>
                    <a:pt x="2667" y="323"/>
                  </a:cubicBezTo>
                  <a:cubicBezTo>
                    <a:pt x="2656" y="323"/>
                    <a:pt x="2656" y="323"/>
                    <a:pt x="2656" y="323"/>
                  </a:cubicBezTo>
                  <a:cubicBezTo>
                    <a:pt x="2650" y="317"/>
                    <a:pt x="2644" y="310"/>
                    <a:pt x="2637" y="302"/>
                  </a:cubicBezTo>
                  <a:cubicBezTo>
                    <a:pt x="2626" y="289"/>
                    <a:pt x="2625" y="278"/>
                    <a:pt x="2628" y="268"/>
                  </a:cubicBezTo>
                  <a:cubicBezTo>
                    <a:pt x="2634" y="268"/>
                    <a:pt x="2634" y="268"/>
                    <a:pt x="2634" y="268"/>
                  </a:cubicBezTo>
                  <a:cubicBezTo>
                    <a:pt x="2638" y="246"/>
                    <a:pt x="2662" y="230"/>
                    <a:pt x="2657" y="219"/>
                  </a:cubicBezTo>
                  <a:cubicBezTo>
                    <a:pt x="2650" y="202"/>
                    <a:pt x="2615" y="214"/>
                    <a:pt x="2583" y="214"/>
                  </a:cubicBezTo>
                  <a:cubicBezTo>
                    <a:pt x="2566" y="214"/>
                    <a:pt x="2544" y="206"/>
                    <a:pt x="2527" y="204"/>
                  </a:cubicBezTo>
                  <a:cubicBezTo>
                    <a:pt x="2541" y="204"/>
                    <a:pt x="2552" y="203"/>
                    <a:pt x="2556" y="197"/>
                  </a:cubicBezTo>
                  <a:cubicBezTo>
                    <a:pt x="2560" y="196"/>
                    <a:pt x="2562" y="195"/>
                    <a:pt x="2563" y="192"/>
                  </a:cubicBezTo>
                  <a:cubicBezTo>
                    <a:pt x="2565" y="190"/>
                    <a:pt x="2567" y="188"/>
                    <a:pt x="2568" y="186"/>
                  </a:cubicBezTo>
                  <a:cubicBezTo>
                    <a:pt x="2565" y="186"/>
                    <a:pt x="2565" y="186"/>
                    <a:pt x="2565" y="186"/>
                  </a:cubicBezTo>
                  <a:cubicBezTo>
                    <a:pt x="2574" y="177"/>
                    <a:pt x="2586" y="173"/>
                    <a:pt x="2587" y="160"/>
                  </a:cubicBezTo>
                  <a:cubicBezTo>
                    <a:pt x="2588" y="154"/>
                    <a:pt x="2591" y="143"/>
                    <a:pt x="2593" y="131"/>
                  </a:cubicBezTo>
                  <a:cubicBezTo>
                    <a:pt x="2599" y="131"/>
                    <a:pt x="2599" y="131"/>
                    <a:pt x="2599" y="131"/>
                  </a:cubicBezTo>
                  <a:cubicBezTo>
                    <a:pt x="2603" y="110"/>
                    <a:pt x="2608" y="87"/>
                    <a:pt x="2608" y="87"/>
                  </a:cubicBezTo>
                  <a:cubicBezTo>
                    <a:pt x="2608" y="87"/>
                    <a:pt x="2594" y="56"/>
                    <a:pt x="2570" y="70"/>
                  </a:cubicBezTo>
                  <a:cubicBezTo>
                    <a:pt x="2547" y="84"/>
                    <a:pt x="2540" y="92"/>
                    <a:pt x="2519" y="87"/>
                  </a:cubicBezTo>
                  <a:cubicBezTo>
                    <a:pt x="2503" y="83"/>
                    <a:pt x="2499" y="58"/>
                    <a:pt x="2483" y="48"/>
                  </a:cubicBezTo>
                  <a:cubicBezTo>
                    <a:pt x="2450" y="48"/>
                    <a:pt x="2450" y="48"/>
                    <a:pt x="2450" y="48"/>
                  </a:cubicBezTo>
                  <a:cubicBezTo>
                    <a:pt x="2444" y="51"/>
                    <a:pt x="2439" y="53"/>
                    <a:pt x="2434" y="57"/>
                  </a:cubicBezTo>
                  <a:cubicBezTo>
                    <a:pt x="2413" y="68"/>
                    <a:pt x="2407" y="85"/>
                    <a:pt x="2397" y="94"/>
                  </a:cubicBezTo>
                  <a:cubicBezTo>
                    <a:pt x="2396" y="95"/>
                    <a:pt x="2394" y="96"/>
                    <a:pt x="2392" y="98"/>
                  </a:cubicBezTo>
                  <a:cubicBezTo>
                    <a:pt x="2379" y="104"/>
                    <a:pt x="2364" y="107"/>
                    <a:pt x="2357" y="104"/>
                  </a:cubicBezTo>
                  <a:cubicBezTo>
                    <a:pt x="2348" y="98"/>
                    <a:pt x="2294" y="62"/>
                    <a:pt x="2294" y="62"/>
                  </a:cubicBezTo>
                  <a:cubicBezTo>
                    <a:pt x="2294" y="62"/>
                    <a:pt x="2221" y="58"/>
                    <a:pt x="2190" y="48"/>
                  </a:cubicBezTo>
                  <a:cubicBezTo>
                    <a:pt x="2174" y="48"/>
                    <a:pt x="2174" y="48"/>
                    <a:pt x="2174" y="48"/>
                  </a:cubicBezTo>
                  <a:cubicBezTo>
                    <a:pt x="2172" y="47"/>
                    <a:pt x="2170" y="46"/>
                    <a:pt x="2170" y="44"/>
                  </a:cubicBezTo>
                  <a:cubicBezTo>
                    <a:pt x="2165" y="27"/>
                    <a:pt x="2146" y="0"/>
                    <a:pt x="2094" y="5"/>
                  </a:cubicBezTo>
                  <a:cubicBezTo>
                    <a:pt x="2043" y="11"/>
                    <a:pt x="1954" y="47"/>
                    <a:pt x="1940" y="47"/>
                  </a:cubicBezTo>
                  <a:cubicBezTo>
                    <a:pt x="1929" y="47"/>
                    <a:pt x="1945" y="67"/>
                    <a:pt x="1943" y="76"/>
                  </a:cubicBezTo>
                  <a:cubicBezTo>
                    <a:pt x="1929" y="76"/>
                    <a:pt x="1913" y="74"/>
                    <a:pt x="1903" y="84"/>
                  </a:cubicBezTo>
                  <a:cubicBezTo>
                    <a:pt x="1896" y="87"/>
                    <a:pt x="1891" y="92"/>
                    <a:pt x="1888" y="102"/>
                  </a:cubicBezTo>
                  <a:cubicBezTo>
                    <a:pt x="1883" y="119"/>
                    <a:pt x="1909" y="119"/>
                    <a:pt x="1940" y="119"/>
                  </a:cubicBezTo>
                  <a:cubicBezTo>
                    <a:pt x="1970" y="119"/>
                    <a:pt x="2019" y="119"/>
                    <a:pt x="2034" y="111"/>
                  </a:cubicBezTo>
                  <a:cubicBezTo>
                    <a:pt x="2048" y="102"/>
                    <a:pt x="2118" y="83"/>
                    <a:pt x="2116" y="108"/>
                  </a:cubicBezTo>
                  <a:cubicBezTo>
                    <a:pt x="2113" y="133"/>
                    <a:pt x="2144" y="172"/>
                    <a:pt x="2160" y="166"/>
                  </a:cubicBezTo>
                  <a:cubicBezTo>
                    <a:pt x="2177" y="160"/>
                    <a:pt x="2209" y="124"/>
                    <a:pt x="2226" y="138"/>
                  </a:cubicBezTo>
                  <a:cubicBezTo>
                    <a:pt x="2242" y="152"/>
                    <a:pt x="2245" y="185"/>
                    <a:pt x="2261" y="194"/>
                  </a:cubicBezTo>
                  <a:cubicBezTo>
                    <a:pt x="2278" y="202"/>
                    <a:pt x="2322" y="202"/>
                    <a:pt x="2343" y="194"/>
                  </a:cubicBezTo>
                  <a:cubicBezTo>
                    <a:pt x="2364" y="185"/>
                    <a:pt x="2423" y="185"/>
                    <a:pt x="2449" y="191"/>
                  </a:cubicBezTo>
                  <a:cubicBezTo>
                    <a:pt x="2463" y="194"/>
                    <a:pt x="2493" y="201"/>
                    <a:pt x="2518" y="203"/>
                  </a:cubicBezTo>
                  <a:cubicBezTo>
                    <a:pt x="2513" y="203"/>
                    <a:pt x="2508" y="204"/>
                    <a:pt x="2506" y="208"/>
                  </a:cubicBezTo>
                  <a:cubicBezTo>
                    <a:pt x="2500" y="210"/>
                    <a:pt x="2496" y="214"/>
                    <a:pt x="2496" y="223"/>
                  </a:cubicBezTo>
                  <a:cubicBezTo>
                    <a:pt x="2496" y="248"/>
                    <a:pt x="2518" y="308"/>
                    <a:pt x="2518" y="328"/>
                  </a:cubicBezTo>
                  <a:cubicBezTo>
                    <a:pt x="2518" y="327"/>
                    <a:pt x="2517" y="327"/>
                    <a:pt x="2517" y="327"/>
                  </a:cubicBezTo>
                  <a:cubicBezTo>
                    <a:pt x="2515" y="325"/>
                    <a:pt x="2514" y="324"/>
                    <a:pt x="2513" y="323"/>
                  </a:cubicBezTo>
                  <a:cubicBezTo>
                    <a:pt x="2502" y="323"/>
                    <a:pt x="2502" y="323"/>
                    <a:pt x="2502" y="323"/>
                  </a:cubicBezTo>
                  <a:cubicBezTo>
                    <a:pt x="2489" y="306"/>
                    <a:pt x="2487" y="287"/>
                    <a:pt x="2478" y="268"/>
                  </a:cubicBezTo>
                  <a:cubicBezTo>
                    <a:pt x="2486" y="268"/>
                    <a:pt x="2486" y="268"/>
                    <a:pt x="2486" y="268"/>
                  </a:cubicBezTo>
                  <a:cubicBezTo>
                    <a:pt x="2484" y="262"/>
                    <a:pt x="2481" y="257"/>
                    <a:pt x="2478" y="252"/>
                  </a:cubicBezTo>
                  <a:cubicBezTo>
                    <a:pt x="2460" y="227"/>
                    <a:pt x="2432" y="231"/>
                    <a:pt x="2397" y="235"/>
                  </a:cubicBezTo>
                  <a:cubicBezTo>
                    <a:pt x="2362" y="239"/>
                    <a:pt x="2302" y="252"/>
                    <a:pt x="2284" y="248"/>
                  </a:cubicBezTo>
                  <a:cubicBezTo>
                    <a:pt x="2267" y="244"/>
                    <a:pt x="2281" y="244"/>
                    <a:pt x="2242" y="223"/>
                  </a:cubicBezTo>
                  <a:cubicBezTo>
                    <a:pt x="2203" y="202"/>
                    <a:pt x="2186" y="206"/>
                    <a:pt x="2158" y="186"/>
                  </a:cubicBezTo>
                  <a:cubicBezTo>
                    <a:pt x="2146" y="186"/>
                    <a:pt x="2146" y="186"/>
                    <a:pt x="2146" y="186"/>
                  </a:cubicBezTo>
                  <a:cubicBezTo>
                    <a:pt x="2126" y="168"/>
                    <a:pt x="2144" y="160"/>
                    <a:pt x="2098" y="156"/>
                  </a:cubicBezTo>
                  <a:cubicBezTo>
                    <a:pt x="2049" y="152"/>
                    <a:pt x="2052" y="185"/>
                    <a:pt x="2003" y="177"/>
                  </a:cubicBezTo>
                  <a:cubicBezTo>
                    <a:pt x="1954" y="169"/>
                    <a:pt x="1940" y="181"/>
                    <a:pt x="1890" y="177"/>
                  </a:cubicBezTo>
                  <a:cubicBezTo>
                    <a:pt x="1841" y="173"/>
                    <a:pt x="1816" y="169"/>
                    <a:pt x="1809" y="198"/>
                  </a:cubicBezTo>
                  <a:cubicBezTo>
                    <a:pt x="1802" y="227"/>
                    <a:pt x="1788" y="277"/>
                    <a:pt x="1767" y="277"/>
                  </a:cubicBezTo>
                  <a:cubicBezTo>
                    <a:pt x="1746" y="277"/>
                    <a:pt x="1721" y="306"/>
                    <a:pt x="1788" y="310"/>
                  </a:cubicBezTo>
                  <a:cubicBezTo>
                    <a:pt x="1855" y="314"/>
                    <a:pt x="1816" y="352"/>
                    <a:pt x="1876" y="348"/>
                  </a:cubicBezTo>
                  <a:cubicBezTo>
                    <a:pt x="1926" y="344"/>
                    <a:pt x="1970" y="343"/>
                    <a:pt x="1992" y="324"/>
                  </a:cubicBezTo>
                  <a:cubicBezTo>
                    <a:pt x="1993" y="324"/>
                    <a:pt x="1994" y="323"/>
                    <a:pt x="1995" y="323"/>
                  </a:cubicBezTo>
                  <a:cubicBezTo>
                    <a:pt x="1994" y="323"/>
                    <a:pt x="1994" y="323"/>
                    <a:pt x="1994" y="323"/>
                  </a:cubicBezTo>
                  <a:cubicBezTo>
                    <a:pt x="1998" y="319"/>
                    <a:pt x="2001" y="315"/>
                    <a:pt x="2003" y="310"/>
                  </a:cubicBezTo>
                  <a:cubicBezTo>
                    <a:pt x="2017" y="277"/>
                    <a:pt x="2028" y="277"/>
                    <a:pt x="2035" y="289"/>
                  </a:cubicBezTo>
                  <a:cubicBezTo>
                    <a:pt x="2042" y="302"/>
                    <a:pt x="2094" y="377"/>
                    <a:pt x="2094" y="377"/>
                  </a:cubicBezTo>
                  <a:cubicBezTo>
                    <a:pt x="2094" y="377"/>
                    <a:pt x="2130" y="410"/>
                    <a:pt x="2144" y="418"/>
                  </a:cubicBezTo>
                  <a:cubicBezTo>
                    <a:pt x="2158" y="427"/>
                    <a:pt x="2130" y="464"/>
                    <a:pt x="2102" y="443"/>
                  </a:cubicBezTo>
                  <a:cubicBezTo>
                    <a:pt x="2073" y="422"/>
                    <a:pt x="2021" y="427"/>
                    <a:pt x="1999" y="406"/>
                  </a:cubicBezTo>
                  <a:cubicBezTo>
                    <a:pt x="1999" y="406"/>
                    <a:pt x="1999" y="405"/>
                    <a:pt x="1998" y="405"/>
                  </a:cubicBezTo>
                  <a:cubicBezTo>
                    <a:pt x="2011" y="405"/>
                    <a:pt x="2011" y="405"/>
                    <a:pt x="2011" y="405"/>
                  </a:cubicBezTo>
                  <a:cubicBezTo>
                    <a:pt x="2009" y="404"/>
                    <a:pt x="2007" y="403"/>
                    <a:pt x="2006" y="402"/>
                  </a:cubicBezTo>
                  <a:cubicBezTo>
                    <a:pt x="1985" y="381"/>
                    <a:pt x="1928" y="372"/>
                    <a:pt x="1903" y="376"/>
                  </a:cubicBezTo>
                  <a:cubicBezTo>
                    <a:pt x="1879" y="380"/>
                    <a:pt x="1798" y="373"/>
                    <a:pt x="1784" y="373"/>
                  </a:cubicBezTo>
                  <a:cubicBezTo>
                    <a:pt x="1780" y="373"/>
                    <a:pt x="1772" y="377"/>
                    <a:pt x="1764" y="382"/>
                  </a:cubicBezTo>
                  <a:cubicBezTo>
                    <a:pt x="1745" y="393"/>
                    <a:pt x="1718" y="418"/>
                    <a:pt x="1718" y="418"/>
                  </a:cubicBezTo>
                  <a:cubicBezTo>
                    <a:pt x="1718" y="418"/>
                    <a:pt x="1715" y="413"/>
                    <a:pt x="1711" y="405"/>
                  </a:cubicBezTo>
                  <a:cubicBezTo>
                    <a:pt x="1720" y="405"/>
                    <a:pt x="1720" y="405"/>
                    <a:pt x="1720" y="405"/>
                  </a:cubicBezTo>
                  <a:cubicBezTo>
                    <a:pt x="1714" y="394"/>
                    <a:pt x="1703" y="375"/>
                    <a:pt x="1696" y="364"/>
                  </a:cubicBezTo>
                  <a:cubicBezTo>
                    <a:pt x="1691" y="357"/>
                    <a:pt x="1685" y="359"/>
                    <a:pt x="1679" y="365"/>
                  </a:cubicBezTo>
                  <a:cubicBezTo>
                    <a:pt x="1672" y="368"/>
                    <a:pt x="1663" y="378"/>
                    <a:pt x="1656" y="384"/>
                  </a:cubicBezTo>
                  <a:cubicBezTo>
                    <a:pt x="1655" y="384"/>
                    <a:pt x="1655" y="385"/>
                    <a:pt x="1654" y="385"/>
                  </a:cubicBezTo>
                  <a:cubicBezTo>
                    <a:pt x="1640" y="389"/>
                    <a:pt x="1598" y="352"/>
                    <a:pt x="1555" y="368"/>
                  </a:cubicBezTo>
                  <a:cubicBezTo>
                    <a:pt x="1544" y="373"/>
                    <a:pt x="1536" y="378"/>
                    <a:pt x="1530" y="382"/>
                  </a:cubicBezTo>
                  <a:cubicBezTo>
                    <a:pt x="1525" y="385"/>
                    <a:pt x="1520" y="389"/>
                    <a:pt x="1516" y="392"/>
                  </a:cubicBezTo>
                  <a:cubicBezTo>
                    <a:pt x="1507" y="397"/>
                    <a:pt x="1496" y="399"/>
                    <a:pt x="1467" y="397"/>
                  </a:cubicBezTo>
                  <a:cubicBezTo>
                    <a:pt x="1408" y="393"/>
                    <a:pt x="1393" y="381"/>
                    <a:pt x="1372" y="385"/>
                  </a:cubicBezTo>
                  <a:cubicBezTo>
                    <a:pt x="1351" y="389"/>
                    <a:pt x="1351" y="389"/>
                    <a:pt x="1351" y="389"/>
                  </a:cubicBezTo>
                  <a:cubicBezTo>
                    <a:pt x="1351" y="389"/>
                    <a:pt x="1351" y="390"/>
                    <a:pt x="1351" y="392"/>
                  </a:cubicBezTo>
                  <a:cubicBezTo>
                    <a:pt x="1345" y="393"/>
                    <a:pt x="1345" y="393"/>
                    <a:pt x="1345" y="393"/>
                  </a:cubicBezTo>
                  <a:cubicBezTo>
                    <a:pt x="1345" y="393"/>
                    <a:pt x="1348" y="410"/>
                    <a:pt x="1323" y="427"/>
                  </a:cubicBezTo>
                  <a:cubicBezTo>
                    <a:pt x="1299" y="443"/>
                    <a:pt x="1281" y="464"/>
                    <a:pt x="1264" y="439"/>
                  </a:cubicBezTo>
                  <a:cubicBezTo>
                    <a:pt x="1246" y="414"/>
                    <a:pt x="1235" y="414"/>
                    <a:pt x="1225" y="410"/>
                  </a:cubicBezTo>
                  <a:cubicBezTo>
                    <a:pt x="1222" y="409"/>
                    <a:pt x="1219" y="407"/>
                    <a:pt x="1216" y="405"/>
                  </a:cubicBezTo>
                  <a:cubicBezTo>
                    <a:pt x="1230" y="405"/>
                    <a:pt x="1230" y="405"/>
                    <a:pt x="1230" y="405"/>
                  </a:cubicBezTo>
                  <a:cubicBezTo>
                    <a:pt x="1219" y="400"/>
                    <a:pt x="1198" y="381"/>
                    <a:pt x="1154" y="393"/>
                  </a:cubicBezTo>
                  <a:cubicBezTo>
                    <a:pt x="1108" y="406"/>
                    <a:pt x="1059" y="332"/>
                    <a:pt x="1045" y="332"/>
                  </a:cubicBezTo>
                  <a:cubicBezTo>
                    <a:pt x="1031" y="332"/>
                    <a:pt x="883" y="368"/>
                    <a:pt x="855" y="360"/>
                  </a:cubicBezTo>
                  <a:cubicBezTo>
                    <a:pt x="834" y="354"/>
                    <a:pt x="783" y="332"/>
                    <a:pt x="747" y="323"/>
                  </a:cubicBezTo>
                  <a:cubicBezTo>
                    <a:pt x="693" y="323"/>
                    <a:pt x="693" y="323"/>
                    <a:pt x="693" y="323"/>
                  </a:cubicBezTo>
                  <a:cubicBezTo>
                    <a:pt x="665" y="327"/>
                    <a:pt x="632" y="332"/>
                    <a:pt x="632" y="332"/>
                  </a:cubicBezTo>
                  <a:cubicBezTo>
                    <a:pt x="632" y="332"/>
                    <a:pt x="609" y="327"/>
                    <a:pt x="590" y="323"/>
                  </a:cubicBezTo>
                  <a:cubicBezTo>
                    <a:pt x="557" y="323"/>
                    <a:pt x="557" y="323"/>
                    <a:pt x="557" y="323"/>
                  </a:cubicBezTo>
                  <a:cubicBezTo>
                    <a:pt x="557" y="323"/>
                    <a:pt x="556" y="323"/>
                    <a:pt x="556" y="323"/>
                  </a:cubicBezTo>
                  <a:cubicBezTo>
                    <a:pt x="556" y="323"/>
                    <a:pt x="555" y="323"/>
                    <a:pt x="555" y="323"/>
                  </a:cubicBezTo>
                  <a:cubicBezTo>
                    <a:pt x="545" y="323"/>
                    <a:pt x="545" y="323"/>
                    <a:pt x="545" y="323"/>
                  </a:cubicBezTo>
                  <a:cubicBezTo>
                    <a:pt x="531" y="327"/>
                    <a:pt x="514" y="331"/>
                    <a:pt x="501" y="323"/>
                  </a:cubicBezTo>
                  <a:cubicBezTo>
                    <a:pt x="489" y="323"/>
                    <a:pt x="489" y="323"/>
                    <a:pt x="489" y="323"/>
                  </a:cubicBezTo>
                  <a:cubicBezTo>
                    <a:pt x="489" y="323"/>
                    <a:pt x="489" y="323"/>
                    <a:pt x="489" y="323"/>
                  </a:cubicBezTo>
                  <a:cubicBezTo>
                    <a:pt x="472" y="302"/>
                    <a:pt x="440" y="289"/>
                    <a:pt x="440" y="289"/>
                  </a:cubicBezTo>
                  <a:cubicBezTo>
                    <a:pt x="440" y="289"/>
                    <a:pt x="430" y="321"/>
                    <a:pt x="412" y="336"/>
                  </a:cubicBezTo>
                  <a:cubicBezTo>
                    <a:pt x="411" y="337"/>
                    <a:pt x="409" y="339"/>
                    <a:pt x="408" y="339"/>
                  </a:cubicBezTo>
                  <a:cubicBezTo>
                    <a:pt x="383" y="348"/>
                    <a:pt x="330" y="364"/>
                    <a:pt x="320" y="356"/>
                  </a:cubicBezTo>
                  <a:cubicBezTo>
                    <a:pt x="309" y="348"/>
                    <a:pt x="218" y="389"/>
                    <a:pt x="218" y="389"/>
                  </a:cubicBezTo>
                  <a:cubicBezTo>
                    <a:pt x="218" y="389"/>
                    <a:pt x="166" y="402"/>
                    <a:pt x="152" y="398"/>
                  </a:cubicBezTo>
                  <a:cubicBezTo>
                    <a:pt x="147" y="397"/>
                    <a:pt x="136" y="400"/>
                    <a:pt x="125" y="405"/>
                  </a:cubicBezTo>
                  <a:cubicBezTo>
                    <a:pt x="129" y="405"/>
                    <a:pt x="129" y="405"/>
                    <a:pt x="129" y="405"/>
                  </a:cubicBezTo>
                  <a:cubicBezTo>
                    <a:pt x="106" y="413"/>
                    <a:pt x="72" y="435"/>
                    <a:pt x="77" y="447"/>
                  </a:cubicBezTo>
                  <a:cubicBezTo>
                    <a:pt x="84" y="464"/>
                    <a:pt x="77" y="497"/>
                    <a:pt x="134" y="497"/>
                  </a:cubicBezTo>
                  <a:cubicBezTo>
                    <a:pt x="190" y="497"/>
                    <a:pt x="193" y="522"/>
                    <a:pt x="214" y="527"/>
                  </a:cubicBezTo>
                  <a:cubicBezTo>
                    <a:pt x="236" y="531"/>
                    <a:pt x="243" y="527"/>
                    <a:pt x="267" y="552"/>
                  </a:cubicBezTo>
                  <a:cubicBezTo>
                    <a:pt x="289" y="573"/>
                    <a:pt x="291" y="595"/>
                    <a:pt x="271" y="597"/>
                  </a:cubicBezTo>
                  <a:cubicBezTo>
                    <a:pt x="264" y="597"/>
                    <a:pt x="264" y="597"/>
                    <a:pt x="264" y="597"/>
                  </a:cubicBezTo>
                  <a:cubicBezTo>
                    <a:pt x="263" y="597"/>
                    <a:pt x="262" y="597"/>
                    <a:pt x="260" y="597"/>
                  </a:cubicBezTo>
                  <a:cubicBezTo>
                    <a:pt x="229" y="593"/>
                    <a:pt x="193" y="585"/>
                    <a:pt x="172" y="564"/>
                  </a:cubicBezTo>
                  <a:cubicBezTo>
                    <a:pt x="151" y="543"/>
                    <a:pt x="151" y="543"/>
                    <a:pt x="151" y="543"/>
                  </a:cubicBezTo>
                  <a:cubicBezTo>
                    <a:pt x="112" y="564"/>
                    <a:pt x="112" y="564"/>
                    <a:pt x="112" y="564"/>
                  </a:cubicBezTo>
                  <a:cubicBezTo>
                    <a:pt x="63" y="568"/>
                    <a:pt x="0" y="597"/>
                    <a:pt x="0" y="597"/>
                  </a:cubicBezTo>
                  <a:cubicBezTo>
                    <a:pt x="0" y="597"/>
                    <a:pt x="17" y="635"/>
                    <a:pt x="49" y="660"/>
                  </a:cubicBezTo>
                  <a:cubicBezTo>
                    <a:pt x="81" y="685"/>
                    <a:pt x="158" y="685"/>
                    <a:pt x="158" y="685"/>
                  </a:cubicBezTo>
                  <a:cubicBezTo>
                    <a:pt x="158" y="685"/>
                    <a:pt x="205" y="688"/>
                    <a:pt x="228" y="671"/>
                  </a:cubicBezTo>
                  <a:cubicBezTo>
                    <a:pt x="232" y="669"/>
                    <a:pt x="236" y="667"/>
                    <a:pt x="239" y="664"/>
                  </a:cubicBezTo>
                  <a:cubicBezTo>
                    <a:pt x="241" y="662"/>
                    <a:pt x="243" y="660"/>
                    <a:pt x="245" y="659"/>
                  </a:cubicBezTo>
                  <a:cubicBezTo>
                    <a:pt x="262" y="649"/>
                    <a:pt x="281" y="652"/>
                    <a:pt x="292" y="655"/>
                  </a:cubicBezTo>
                  <a:cubicBezTo>
                    <a:pt x="306" y="660"/>
                    <a:pt x="281" y="714"/>
                    <a:pt x="243" y="710"/>
                  </a:cubicBezTo>
                  <a:cubicBezTo>
                    <a:pt x="204" y="705"/>
                    <a:pt x="158" y="714"/>
                    <a:pt x="126" y="743"/>
                  </a:cubicBezTo>
                  <a:cubicBezTo>
                    <a:pt x="95" y="772"/>
                    <a:pt x="67" y="776"/>
                    <a:pt x="81" y="809"/>
                  </a:cubicBezTo>
                  <a:cubicBezTo>
                    <a:pt x="95" y="843"/>
                    <a:pt x="148" y="884"/>
                    <a:pt x="151" y="905"/>
                  </a:cubicBezTo>
                  <a:cubicBezTo>
                    <a:pt x="153" y="919"/>
                    <a:pt x="179" y="909"/>
                    <a:pt x="199" y="895"/>
                  </a:cubicBezTo>
                  <a:cubicBezTo>
                    <a:pt x="210" y="888"/>
                    <a:pt x="221" y="880"/>
                    <a:pt x="226" y="872"/>
                  </a:cubicBezTo>
                  <a:cubicBezTo>
                    <a:pt x="222" y="872"/>
                    <a:pt x="222" y="872"/>
                    <a:pt x="222" y="872"/>
                  </a:cubicBezTo>
                  <a:cubicBezTo>
                    <a:pt x="229" y="851"/>
                    <a:pt x="264" y="851"/>
                    <a:pt x="253" y="897"/>
                  </a:cubicBezTo>
                  <a:cubicBezTo>
                    <a:pt x="243" y="942"/>
                    <a:pt x="288" y="951"/>
                    <a:pt x="288" y="951"/>
                  </a:cubicBezTo>
                  <a:cubicBezTo>
                    <a:pt x="288" y="951"/>
                    <a:pt x="290" y="949"/>
                    <a:pt x="291" y="946"/>
                  </a:cubicBezTo>
                  <a:cubicBezTo>
                    <a:pt x="293" y="946"/>
                    <a:pt x="295" y="947"/>
                    <a:pt x="295" y="947"/>
                  </a:cubicBezTo>
                  <a:cubicBezTo>
                    <a:pt x="295" y="947"/>
                    <a:pt x="306" y="926"/>
                    <a:pt x="316" y="917"/>
                  </a:cubicBezTo>
                  <a:cubicBezTo>
                    <a:pt x="317" y="916"/>
                    <a:pt x="319" y="916"/>
                    <a:pt x="320" y="918"/>
                  </a:cubicBezTo>
                  <a:cubicBezTo>
                    <a:pt x="331" y="926"/>
                    <a:pt x="366" y="963"/>
                    <a:pt x="366" y="963"/>
                  </a:cubicBezTo>
                  <a:cubicBezTo>
                    <a:pt x="366" y="963"/>
                    <a:pt x="371" y="959"/>
                    <a:pt x="379" y="954"/>
                  </a:cubicBezTo>
                  <a:cubicBezTo>
                    <a:pt x="379" y="954"/>
                    <a:pt x="379" y="954"/>
                    <a:pt x="379" y="954"/>
                  </a:cubicBezTo>
                  <a:cubicBezTo>
                    <a:pt x="380" y="954"/>
                    <a:pt x="381" y="953"/>
                    <a:pt x="381" y="953"/>
                  </a:cubicBezTo>
                  <a:cubicBezTo>
                    <a:pt x="396" y="944"/>
                    <a:pt x="417" y="935"/>
                    <a:pt x="426" y="951"/>
                  </a:cubicBezTo>
                  <a:cubicBezTo>
                    <a:pt x="440" y="976"/>
                    <a:pt x="405" y="996"/>
                    <a:pt x="384" y="1009"/>
                  </a:cubicBezTo>
                  <a:cubicBezTo>
                    <a:pt x="382" y="1009"/>
                    <a:pt x="382" y="1009"/>
                    <a:pt x="382" y="1009"/>
                  </a:cubicBezTo>
                  <a:cubicBezTo>
                    <a:pt x="354" y="1023"/>
                    <a:pt x="290" y="1052"/>
                    <a:pt x="274" y="1063"/>
                  </a:cubicBezTo>
                  <a:cubicBezTo>
                    <a:pt x="273" y="1064"/>
                    <a:pt x="271" y="1065"/>
                    <a:pt x="269" y="1066"/>
                  </a:cubicBezTo>
                  <a:cubicBezTo>
                    <a:pt x="268" y="1067"/>
                    <a:pt x="268" y="1067"/>
                    <a:pt x="267" y="1067"/>
                  </a:cubicBezTo>
                  <a:cubicBezTo>
                    <a:pt x="266" y="1068"/>
                    <a:pt x="265" y="1069"/>
                    <a:pt x="264" y="1069"/>
                  </a:cubicBezTo>
                  <a:cubicBezTo>
                    <a:pt x="254" y="1076"/>
                    <a:pt x="240" y="1084"/>
                    <a:pt x="225" y="1091"/>
                  </a:cubicBezTo>
                  <a:cubicBezTo>
                    <a:pt x="227" y="1091"/>
                    <a:pt x="227" y="1091"/>
                    <a:pt x="227" y="1091"/>
                  </a:cubicBezTo>
                  <a:cubicBezTo>
                    <a:pt x="202" y="1104"/>
                    <a:pt x="175" y="1117"/>
                    <a:pt x="165" y="1117"/>
                  </a:cubicBezTo>
                  <a:cubicBezTo>
                    <a:pt x="148" y="1117"/>
                    <a:pt x="141" y="1167"/>
                    <a:pt x="172" y="1163"/>
                  </a:cubicBezTo>
                  <a:cubicBezTo>
                    <a:pt x="204" y="1159"/>
                    <a:pt x="292" y="1121"/>
                    <a:pt x="317" y="1109"/>
                  </a:cubicBezTo>
                  <a:cubicBezTo>
                    <a:pt x="341" y="1096"/>
                    <a:pt x="350" y="1150"/>
                    <a:pt x="413" y="1113"/>
                  </a:cubicBezTo>
                  <a:cubicBezTo>
                    <a:pt x="425" y="1106"/>
                    <a:pt x="434" y="1099"/>
                    <a:pt x="443" y="1091"/>
                  </a:cubicBezTo>
                  <a:cubicBezTo>
                    <a:pt x="444" y="1091"/>
                    <a:pt x="444" y="1091"/>
                    <a:pt x="444" y="1091"/>
                  </a:cubicBezTo>
                  <a:cubicBezTo>
                    <a:pt x="478" y="1065"/>
                    <a:pt x="495" y="1035"/>
                    <a:pt x="508" y="1022"/>
                  </a:cubicBezTo>
                  <a:cubicBezTo>
                    <a:pt x="510" y="1022"/>
                    <a:pt x="512" y="1021"/>
                    <a:pt x="514" y="1021"/>
                  </a:cubicBezTo>
                  <a:cubicBezTo>
                    <a:pt x="531" y="1026"/>
                    <a:pt x="535" y="1055"/>
                    <a:pt x="563" y="1063"/>
                  </a:cubicBezTo>
                  <a:cubicBezTo>
                    <a:pt x="576" y="1067"/>
                    <a:pt x="588" y="1062"/>
                    <a:pt x="599" y="1054"/>
                  </a:cubicBezTo>
                  <a:cubicBezTo>
                    <a:pt x="615" y="1045"/>
                    <a:pt x="629" y="1029"/>
                    <a:pt x="640" y="1021"/>
                  </a:cubicBezTo>
                  <a:cubicBezTo>
                    <a:pt x="644" y="1019"/>
                    <a:pt x="647" y="1014"/>
                    <a:pt x="651" y="1009"/>
                  </a:cubicBezTo>
                  <a:cubicBezTo>
                    <a:pt x="646" y="1009"/>
                    <a:pt x="646" y="1009"/>
                    <a:pt x="646" y="1009"/>
                  </a:cubicBezTo>
                  <a:cubicBezTo>
                    <a:pt x="656" y="990"/>
                    <a:pt x="660" y="964"/>
                    <a:pt x="648" y="967"/>
                  </a:cubicBezTo>
                  <a:cubicBezTo>
                    <a:pt x="630" y="972"/>
                    <a:pt x="584" y="967"/>
                    <a:pt x="584" y="967"/>
                  </a:cubicBezTo>
                  <a:cubicBezTo>
                    <a:pt x="584" y="967"/>
                    <a:pt x="592" y="962"/>
                    <a:pt x="602" y="954"/>
                  </a:cubicBezTo>
                  <a:cubicBezTo>
                    <a:pt x="603" y="954"/>
                    <a:pt x="603" y="954"/>
                    <a:pt x="603" y="954"/>
                  </a:cubicBezTo>
                  <a:cubicBezTo>
                    <a:pt x="618" y="943"/>
                    <a:pt x="640" y="923"/>
                    <a:pt x="640" y="909"/>
                  </a:cubicBezTo>
                  <a:cubicBezTo>
                    <a:pt x="640" y="898"/>
                    <a:pt x="642" y="885"/>
                    <a:pt x="648" y="872"/>
                  </a:cubicBezTo>
                  <a:cubicBezTo>
                    <a:pt x="644" y="872"/>
                    <a:pt x="644" y="872"/>
                    <a:pt x="644" y="872"/>
                  </a:cubicBezTo>
                  <a:cubicBezTo>
                    <a:pt x="649" y="861"/>
                    <a:pt x="657" y="852"/>
                    <a:pt x="669" y="847"/>
                  </a:cubicBezTo>
                  <a:cubicBezTo>
                    <a:pt x="697" y="834"/>
                    <a:pt x="697" y="843"/>
                    <a:pt x="679" y="893"/>
                  </a:cubicBezTo>
                  <a:cubicBezTo>
                    <a:pt x="664" y="937"/>
                    <a:pt x="703" y="925"/>
                    <a:pt x="727" y="908"/>
                  </a:cubicBezTo>
                  <a:cubicBezTo>
                    <a:pt x="732" y="905"/>
                    <a:pt x="736" y="902"/>
                    <a:pt x="740" y="898"/>
                  </a:cubicBezTo>
                  <a:cubicBezTo>
                    <a:pt x="760" y="888"/>
                    <a:pt x="785" y="935"/>
                    <a:pt x="821" y="907"/>
                  </a:cubicBezTo>
                  <a:cubicBezTo>
                    <a:pt x="821" y="907"/>
                    <a:pt x="822" y="906"/>
                    <a:pt x="822" y="906"/>
                  </a:cubicBezTo>
                  <a:cubicBezTo>
                    <a:pt x="824" y="905"/>
                    <a:pt x="826" y="904"/>
                    <a:pt x="827" y="903"/>
                  </a:cubicBezTo>
                  <a:cubicBezTo>
                    <a:pt x="839" y="894"/>
                    <a:pt x="846" y="883"/>
                    <a:pt x="851" y="872"/>
                  </a:cubicBezTo>
                  <a:cubicBezTo>
                    <a:pt x="846" y="872"/>
                    <a:pt x="846" y="872"/>
                    <a:pt x="846" y="872"/>
                  </a:cubicBezTo>
                  <a:cubicBezTo>
                    <a:pt x="855" y="847"/>
                    <a:pt x="855" y="822"/>
                    <a:pt x="869" y="822"/>
                  </a:cubicBezTo>
                  <a:cubicBezTo>
                    <a:pt x="890" y="822"/>
                    <a:pt x="929" y="868"/>
                    <a:pt x="950" y="851"/>
                  </a:cubicBezTo>
                  <a:cubicBezTo>
                    <a:pt x="971" y="834"/>
                    <a:pt x="1025" y="885"/>
                    <a:pt x="1060" y="885"/>
                  </a:cubicBezTo>
                  <a:cubicBezTo>
                    <a:pt x="1096" y="885"/>
                    <a:pt x="1214" y="926"/>
                    <a:pt x="1235" y="926"/>
                  </a:cubicBezTo>
                  <a:cubicBezTo>
                    <a:pt x="1257" y="926"/>
                    <a:pt x="1320" y="955"/>
                    <a:pt x="1323" y="1009"/>
                  </a:cubicBezTo>
                  <a:cubicBezTo>
                    <a:pt x="1327" y="1063"/>
                    <a:pt x="1348" y="1059"/>
                    <a:pt x="1369" y="1059"/>
                  </a:cubicBezTo>
                  <a:cubicBezTo>
                    <a:pt x="1390" y="1059"/>
                    <a:pt x="1440" y="1080"/>
                    <a:pt x="1440" y="1101"/>
                  </a:cubicBezTo>
                  <a:cubicBezTo>
                    <a:pt x="1440" y="1121"/>
                    <a:pt x="1426" y="1205"/>
                    <a:pt x="1461" y="1225"/>
                  </a:cubicBezTo>
                  <a:cubicBezTo>
                    <a:pt x="1496" y="1246"/>
                    <a:pt x="1528" y="1279"/>
                    <a:pt x="1542" y="1271"/>
                  </a:cubicBezTo>
                  <a:cubicBezTo>
                    <a:pt x="1549" y="1267"/>
                    <a:pt x="1549" y="1248"/>
                    <a:pt x="1545" y="1229"/>
                  </a:cubicBezTo>
                  <a:cubicBezTo>
                    <a:pt x="1552" y="1229"/>
                    <a:pt x="1552" y="1229"/>
                    <a:pt x="1552" y="1229"/>
                  </a:cubicBezTo>
                  <a:cubicBezTo>
                    <a:pt x="1548" y="1209"/>
                    <a:pt x="1540" y="1188"/>
                    <a:pt x="1531" y="1184"/>
                  </a:cubicBezTo>
                  <a:cubicBezTo>
                    <a:pt x="1518" y="1178"/>
                    <a:pt x="1520" y="1161"/>
                    <a:pt x="1519" y="1146"/>
                  </a:cubicBezTo>
                  <a:cubicBezTo>
                    <a:pt x="1513" y="1146"/>
                    <a:pt x="1513" y="1146"/>
                    <a:pt x="1513" y="1146"/>
                  </a:cubicBezTo>
                  <a:cubicBezTo>
                    <a:pt x="1512" y="1142"/>
                    <a:pt x="1512" y="1137"/>
                    <a:pt x="1510" y="1134"/>
                  </a:cubicBezTo>
                  <a:cubicBezTo>
                    <a:pt x="1503" y="1117"/>
                    <a:pt x="1531" y="1117"/>
                    <a:pt x="1542" y="1146"/>
                  </a:cubicBezTo>
                  <a:cubicBezTo>
                    <a:pt x="1552" y="1175"/>
                    <a:pt x="1580" y="1230"/>
                    <a:pt x="1598" y="1230"/>
                  </a:cubicBezTo>
                  <a:cubicBezTo>
                    <a:pt x="1616" y="1230"/>
                    <a:pt x="1654" y="1279"/>
                    <a:pt x="1644" y="1308"/>
                  </a:cubicBezTo>
                  <a:cubicBezTo>
                    <a:pt x="1633" y="1338"/>
                    <a:pt x="1647" y="1397"/>
                    <a:pt x="1679" y="1397"/>
                  </a:cubicBezTo>
                  <a:cubicBezTo>
                    <a:pt x="1711" y="1397"/>
                    <a:pt x="1757" y="1438"/>
                    <a:pt x="1771" y="1442"/>
                  </a:cubicBezTo>
                  <a:cubicBezTo>
                    <a:pt x="1785" y="1446"/>
                    <a:pt x="1793" y="1482"/>
                    <a:pt x="1793" y="1494"/>
                  </a:cubicBezTo>
                  <a:cubicBezTo>
                    <a:pt x="1793" y="1507"/>
                    <a:pt x="1820" y="1562"/>
                    <a:pt x="1820" y="1591"/>
                  </a:cubicBezTo>
                  <a:cubicBezTo>
                    <a:pt x="1820" y="1620"/>
                    <a:pt x="1809" y="1737"/>
                    <a:pt x="1806" y="1783"/>
                  </a:cubicBezTo>
                  <a:cubicBezTo>
                    <a:pt x="1802" y="1829"/>
                    <a:pt x="1834" y="1907"/>
                    <a:pt x="1869" y="1949"/>
                  </a:cubicBezTo>
                  <a:cubicBezTo>
                    <a:pt x="1904" y="1991"/>
                    <a:pt x="1898" y="2084"/>
                    <a:pt x="1919" y="2100"/>
                  </a:cubicBezTo>
                  <a:cubicBezTo>
                    <a:pt x="1940" y="2117"/>
                    <a:pt x="1992" y="2149"/>
                    <a:pt x="2024" y="2145"/>
                  </a:cubicBezTo>
                  <a:cubicBezTo>
                    <a:pt x="2056" y="2140"/>
                    <a:pt x="2077" y="2169"/>
                    <a:pt x="2105" y="2228"/>
                  </a:cubicBezTo>
                  <a:cubicBezTo>
                    <a:pt x="2133" y="2286"/>
                    <a:pt x="2161" y="2382"/>
                    <a:pt x="2183" y="2390"/>
                  </a:cubicBezTo>
                  <a:cubicBezTo>
                    <a:pt x="2204" y="2398"/>
                    <a:pt x="2239" y="2427"/>
                    <a:pt x="2221" y="2448"/>
                  </a:cubicBezTo>
                  <a:cubicBezTo>
                    <a:pt x="2204" y="2469"/>
                    <a:pt x="2175" y="2515"/>
                    <a:pt x="2207" y="2515"/>
                  </a:cubicBezTo>
                  <a:cubicBezTo>
                    <a:pt x="2239" y="2515"/>
                    <a:pt x="2249" y="2494"/>
                    <a:pt x="2274" y="2531"/>
                  </a:cubicBezTo>
                  <a:cubicBezTo>
                    <a:pt x="2299" y="2569"/>
                    <a:pt x="2330" y="2590"/>
                    <a:pt x="2327" y="2615"/>
                  </a:cubicBezTo>
                  <a:cubicBezTo>
                    <a:pt x="2323" y="2640"/>
                    <a:pt x="2355" y="2648"/>
                    <a:pt x="2369" y="2652"/>
                  </a:cubicBezTo>
                  <a:cubicBezTo>
                    <a:pt x="2383" y="2656"/>
                    <a:pt x="2413" y="2726"/>
                    <a:pt x="2443" y="2701"/>
                  </a:cubicBezTo>
                  <a:cubicBezTo>
                    <a:pt x="2447" y="2699"/>
                    <a:pt x="2450" y="2697"/>
                    <a:pt x="2453" y="2694"/>
                  </a:cubicBezTo>
                  <a:cubicBezTo>
                    <a:pt x="2464" y="2682"/>
                    <a:pt x="2462" y="2669"/>
                    <a:pt x="2455" y="2656"/>
                  </a:cubicBezTo>
                  <a:cubicBezTo>
                    <a:pt x="2446" y="2656"/>
                    <a:pt x="2446" y="2656"/>
                    <a:pt x="2446" y="2656"/>
                  </a:cubicBezTo>
                  <a:cubicBezTo>
                    <a:pt x="2433" y="2635"/>
                    <a:pt x="2407" y="2615"/>
                    <a:pt x="2391" y="2601"/>
                  </a:cubicBezTo>
                  <a:cubicBezTo>
                    <a:pt x="2403" y="2601"/>
                    <a:pt x="2403" y="2601"/>
                    <a:pt x="2403" y="2601"/>
                  </a:cubicBezTo>
                  <a:cubicBezTo>
                    <a:pt x="2397" y="2597"/>
                    <a:pt x="2393" y="2593"/>
                    <a:pt x="2390" y="2590"/>
                  </a:cubicBezTo>
                  <a:cubicBezTo>
                    <a:pt x="2375" y="2575"/>
                    <a:pt x="2380" y="2549"/>
                    <a:pt x="2369" y="2519"/>
                  </a:cubicBezTo>
                  <a:cubicBezTo>
                    <a:pt x="2361" y="2519"/>
                    <a:pt x="2361" y="2519"/>
                    <a:pt x="2361" y="2519"/>
                  </a:cubicBezTo>
                  <a:cubicBezTo>
                    <a:pt x="2355" y="2507"/>
                    <a:pt x="2347" y="2494"/>
                    <a:pt x="2334" y="2482"/>
                  </a:cubicBezTo>
                  <a:cubicBezTo>
                    <a:pt x="2327" y="2475"/>
                    <a:pt x="2322" y="2469"/>
                    <a:pt x="2317" y="2464"/>
                  </a:cubicBezTo>
                  <a:cubicBezTo>
                    <a:pt x="2327" y="2464"/>
                    <a:pt x="2327" y="2464"/>
                    <a:pt x="2327" y="2464"/>
                  </a:cubicBezTo>
                  <a:cubicBezTo>
                    <a:pt x="2299" y="2432"/>
                    <a:pt x="2295" y="2406"/>
                    <a:pt x="2277" y="2381"/>
                  </a:cubicBezTo>
                  <a:cubicBezTo>
                    <a:pt x="2267" y="2381"/>
                    <a:pt x="2267" y="2381"/>
                    <a:pt x="2267" y="2381"/>
                  </a:cubicBezTo>
                  <a:cubicBezTo>
                    <a:pt x="2264" y="2377"/>
                    <a:pt x="2261" y="2373"/>
                    <a:pt x="2256" y="2369"/>
                  </a:cubicBezTo>
                  <a:cubicBezTo>
                    <a:pt x="2241" y="2354"/>
                    <a:pt x="2226" y="2340"/>
                    <a:pt x="2219" y="2326"/>
                  </a:cubicBezTo>
                  <a:cubicBezTo>
                    <a:pt x="2228" y="2326"/>
                    <a:pt x="2228" y="2326"/>
                    <a:pt x="2228" y="2326"/>
                  </a:cubicBezTo>
                  <a:cubicBezTo>
                    <a:pt x="2216" y="2308"/>
                    <a:pt x="2214" y="2291"/>
                    <a:pt x="2234" y="2274"/>
                  </a:cubicBezTo>
                  <a:cubicBezTo>
                    <a:pt x="2264" y="2257"/>
                    <a:pt x="2268" y="2309"/>
                    <a:pt x="2281" y="2344"/>
                  </a:cubicBezTo>
                  <a:cubicBezTo>
                    <a:pt x="2295" y="2382"/>
                    <a:pt x="2369" y="2457"/>
                    <a:pt x="2401" y="2490"/>
                  </a:cubicBezTo>
                  <a:cubicBezTo>
                    <a:pt x="2432" y="2523"/>
                    <a:pt x="2489" y="2640"/>
                    <a:pt x="2506" y="2640"/>
                  </a:cubicBezTo>
                  <a:cubicBezTo>
                    <a:pt x="2524" y="2640"/>
                    <a:pt x="2573" y="2706"/>
                    <a:pt x="2573" y="2706"/>
                  </a:cubicBezTo>
                  <a:cubicBezTo>
                    <a:pt x="2573" y="2706"/>
                    <a:pt x="2601" y="2760"/>
                    <a:pt x="2591" y="2777"/>
                  </a:cubicBezTo>
                  <a:cubicBezTo>
                    <a:pt x="2580" y="2793"/>
                    <a:pt x="2605" y="2856"/>
                    <a:pt x="2630" y="2873"/>
                  </a:cubicBezTo>
                  <a:cubicBezTo>
                    <a:pt x="2654" y="2889"/>
                    <a:pt x="2762" y="2890"/>
                    <a:pt x="2767" y="2952"/>
                  </a:cubicBezTo>
                  <a:cubicBezTo>
                    <a:pt x="2768" y="2968"/>
                    <a:pt x="2786" y="3047"/>
                    <a:pt x="2825" y="3047"/>
                  </a:cubicBezTo>
                  <a:cubicBezTo>
                    <a:pt x="2863" y="3047"/>
                    <a:pt x="2915" y="3027"/>
                    <a:pt x="2925" y="3039"/>
                  </a:cubicBezTo>
                  <a:cubicBezTo>
                    <a:pt x="2935" y="3051"/>
                    <a:pt x="2964" y="3095"/>
                    <a:pt x="2985" y="3076"/>
                  </a:cubicBezTo>
                  <a:cubicBezTo>
                    <a:pt x="2989" y="3075"/>
                    <a:pt x="2992" y="3072"/>
                    <a:pt x="2995" y="3068"/>
                  </a:cubicBezTo>
                  <a:cubicBezTo>
                    <a:pt x="2995" y="3068"/>
                    <a:pt x="2996" y="3068"/>
                    <a:pt x="2996" y="3067"/>
                  </a:cubicBezTo>
                  <a:cubicBezTo>
                    <a:pt x="2992" y="3067"/>
                    <a:pt x="2992" y="3067"/>
                    <a:pt x="2992" y="3067"/>
                  </a:cubicBezTo>
                  <a:cubicBezTo>
                    <a:pt x="3010" y="3042"/>
                    <a:pt x="3015" y="3031"/>
                    <a:pt x="3045" y="3031"/>
                  </a:cubicBezTo>
                  <a:cubicBezTo>
                    <a:pt x="3077" y="3031"/>
                    <a:pt x="3091" y="3060"/>
                    <a:pt x="3108" y="3080"/>
                  </a:cubicBezTo>
                  <a:cubicBezTo>
                    <a:pt x="3126" y="3101"/>
                    <a:pt x="3175" y="3155"/>
                    <a:pt x="3200" y="3151"/>
                  </a:cubicBezTo>
                  <a:cubicBezTo>
                    <a:pt x="3225" y="3147"/>
                    <a:pt x="3256" y="3185"/>
                    <a:pt x="3274" y="3172"/>
                  </a:cubicBezTo>
                  <a:cubicBezTo>
                    <a:pt x="3292" y="3160"/>
                    <a:pt x="3320" y="3180"/>
                    <a:pt x="3334" y="3189"/>
                  </a:cubicBezTo>
                  <a:cubicBezTo>
                    <a:pt x="3348" y="3197"/>
                    <a:pt x="3377" y="3228"/>
                    <a:pt x="3374" y="3278"/>
                  </a:cubicBezTo>
                  <a:cubicBezTo>
                    <a:pt x="3370" y="3328"/>
                    <a:pt x="3422" y="3338"/>
                    <a:pt x="3443" y="3351"/>
                  </a:cubicBezTo>
                  <a:cubicBezTo>
                    <a:pt x="3464" y="3363"/>
                    <a:pt x="3492" y="3392"/>
                    <a:pt x="3510" y="3413"/>
                  </a:cubicBezTo>
                  <a:cubicBezTo>
                    <a:pt x="3527" y="3434"/>
                    <a:pt x="3566" y="3438"/>
                    <a:pt x="3577" y="3451"/>
                  </a:cubicBezTo>
                  <a:cubicBezTo>
                    <a:pt x="3587" y="3463"/>
                    <a:pt x="3594" y="3488"/>
                    <a:pt x="3626" y="3467"/>
                  </a:cubicBezTo>
                  <a:cubicBezTo>
                    <a:pt x="3645" y="3455"/>
                    <a:pt x="3650" y="3437"/>
                    <a:pt x="3651" y="3424"/>
                  </a:cubicBezTo>
                  <a:cubicBezTo>
                    <a:pt x="3657" y="3424"/>
                    <a:pt x="3657" y="3424"/>
                    <a:pt x="3657" y="3424"/>
                  </a:cubicBezTo>
                  <a:cubicBezTo>
                    <a:pt x="3658" y="3417"/>
                    <a:pt x="3658" y="3411"/>
                    <a:pt x="3658" y="3408"/>
                  </a:cubicBezTo>
                  <a:cubicBezTo>
                    <a:pt x="3669" y="3407"/>
                    <a:pt x="3691" y="3405"/>
                    <a:pt x="3703" y="3418"/>
                  </a:cubicBezTo>
                  <a:cubicBezTo>
                    <a:pt x="3721" y="3434"/>
                    <a:pt x="3732" y="3488"/>
                    <a:pt x="3742" y="3496"/>
                  </a:cubicBezTo>
                  <a:cubicBezTo>
                    <a:pt x="3753" y="3505"/>
                    <a:pt x="3774" y="3567"/>
                    <a:pt x="3760" y="3613"/>
                  </a:cubicBezTo>
                  <a:cubicBezTo>
                    <a:pt x="3746" y="3659"/>
                    <a:pt x="3749" y="3705"/>
                    <a:pt x="3735" y="3705"/>
                  </a:cubicBezTo>
                  <a:cubicBezTo>
                    <a:pt x="3721" y="3705"/>
                    <a:pt x="3682" y="3748"/>
                    <a:pt x="3661" y="3761"/>
                  </a:cubicBezTo>
                  <a:cubicBezTo>
                    <a:pt x="3640" y="3773"/>
                    <a:pt x="3605" y="3842"/>
                    <a:pt x="3608" y="3863"/>
                  </a:cubicBezTo>
                  <a:cubicBezTo>
                    <a:pt x="3612" y="3883"/>
                    <a:pt x="3624" y="3949"/>
                    <a:pt x="3617" y="3978"/>
                  </a:cubicBezTo>
                  <a:cubicBezTo>
                    <a:pt x="3610" y="4008"/>
                    <a:pt x="3584" y="4037"/>
                    <a:pt x="3594" y="4083"/>
                  </a:cubicBezTo>
                  <a:cubicBezTo>
                    <a:pt x="3605" y="4129"/>
                    <a:pt x="3679" y="4141"/>
                    <a:pt x="3682" y="4183"/>
                  </a:cubicBezTo>
                  <a:cubicBezTo>
                    <a:pt x="3686" y="4224"/>
                    <a:pt x="3739" y="4316"/>
                    <a:pt x="3746" y="4358"/>
                  </a:cubicBezTo>
                  <a:cubicBezTo>
                    <a:pt x="3753" y="4399"/>
                    <a:pt x="3791" y="4447"/>
                    <a:pt x="3791" y="4505"/>
                  </a:cubicBezTo>
                  <a:cubicBezTo>
                    <a:pt x="3791" y="4564"/>
                    <a:pt x="3897" y="4599"/>
                    <a:pt x="3915" y="4603"/>
                  </a:cubicBezTo>
                  <a:cubicBezTo>
                    <a:pt x="3932" y="4607"/>
                    <a:pt x="3964" y="4645"/>
                    <a:pt x="3989" y="4657"/>
                  </a:cubicBezTo>
                  <a:cubicBezTo>
                    <a:pt x="4013" y="4669"/>
                    <a:pt x="4034" y="4694"/>
                    <a:pt x="4052" y="4728"/>
                  </a:cubicBezTo>
                  <a:cubicBezTo>
                    <a:pt x="4070" y="4761"/>
                    <a:pt x="4066" y="4811"/>
                    <a:pt x="4066" y="4823"/>
                  </a:cubicBezTo>
                  <a:cubicBezTo>
                    <a:pt x="4066" y="4836"/>
                    <a:pt x="4056" y="4965"/>
                    <a:pt x="4045" y="5040"/>
                  </a:cubicBezTo>
                  <a:cubicBezTo>
                    <a:pt x="4034" y="5115"/>
                    <a:pt x="4070" y="5185"/>
                    <a:pt x="4049" y="5206"/>
                  </a:cubicBezTo>
                  <a:cubicBezTo>
                    <a:pt x="4028" y="5227"/>
                    <a:pt x="3989" y="5235"/>
                    <a:pt x="4010" y="5260"/>
                  </a:cubicBezTo>
                  <a:cubicBezTo>
                    <a:pt x="4031" y="5285"/>
                    <a:pt x="3985" y="5302"/>
                    <a:pt x="3985" y="5314"/>
                  </a:cubicBezTo>
                  <a:cubicBezTo>
                    <a:pt x="3985" y="5327"/>
                    <a:pt x="4013" y="5393"/>
                    <a:pt x="3999" y="5422"/>
                  </a:cubicBezTo>
                  <a:cubicBezTo>
                    <a:pt x="3985" y="5452"/>
                    <a:pt x="3975" y="5493"/>
                    <a:pt x="3964" y="5518"/>
                  </a:cubicBezTo>
                  <a:cubicBezTo>
                    <a:pt x="3953" y="5543"/>
                    <a:pt x="3929" y="5568"/>
                    <a:pt x="3936" y="5605"/>
                  </a:cubicBezTo>
                  <a:cubicBezTo>
                    <a:pt x="3943" y="5643"/>
                    <a:pt x="3908" y="5630"/>
                    <a:pt x="3908" y="5668"/>
                  </a:cubicBezTo>
                  <a:cubicBezTo>
                    <a:pt x="3908" y="5705"/>
                    <a:pt x="3939" y="5689"/>
                    <a:pt x="3932" y="5734"/>
                  </a:cubicBezTo>
                  <a:cubicBezTo>
                    <a:pt x="3925" y="5780"/>
                    <a:pt x="3908" y="5793"/>
                    <a:pt x="3908" y="5826"/>
                  </a:cubicBezTo>
                  <a:cubicBezTo>
                    <a:pt x="3908" y="5859"/>
                    <a:pt x="3925" y="5905"/>
                    <a:pt x="3925" y="5917"/>
                  </a:cubicBezTo>
                  <a:cubicBezTo>
                    <a:pt x="3925" y="5930"/>
                    <a:pt x="3908" y="5971"/>
                    <a:pt x="3883" y="6005"/>
                  </a:cubicBezTo>
                  <a:cubicBezTo>
                    <a:pt x="3858" y="6038"/>
                    <a:pt x="3841" y="6059"/>
                    <a:pt x="3844" y="6080"/>
                  </a:cubicBezTo>
                  <a:cubicBezTo>
                    <a:pt x="3848" y="6100"/>
                    <a:pt x="3872" y="6125"/>
                    <a:pt x="3869" y="6138"/>
                  </a:cubicBezTo>
                  <a:cubicBezTo>
                    <a:pt x="3865" y="6150"/>
                    <a:pt x="3834" y="6192"/>
                    <a:pt x="3837" y="6221"/>
                  </a:cubicBezTo>
                  <a:cubicBezTo>
                    <a:pt x="3841" y="6250"/>
                    <a:pt x="3872" y="6238"/>
                    <a:pt x="3879" y="6258"/>
                  </a:cubicBezTo>
                  <a:cubicBezTo>
                    <a:pt x="3887" y="6279"/>
                    <a:pt x="3837" y="6296"/>
                    <a:pt x="3858" y="6317"/>
                  </a:cubicBezTo>
                  <a:cubicBezTo>
                    <a:pt x="3879" y="6338"/>
                    <a:pt x="3908" y="6333"/>
                    <a:pt x="3901" y="6383"/>
                  </a:cubicBezTo>
                  <a:cubicBezTo>
                    <a:pt x="3893" y="6433"/>
                    <a:pt x="3939" y="6446"/>
                    <a:pt x="3950" y="6458"/>
                  </a:cubicBezTo>
                  <a:cubicBezTo>
                    <a:pt x="3960" y="6471"/>
                    <a:pt x="3981" y="6500"/>
                    <a:pt x="3999" y="6500"/>
                  </a:cubicBezTo>
                  <a:cubicBezTo>
                    <a:pt x="4016" y="6500"/>
                    <a:pt x="4030" y="6488"/>
                    <a:pt x="4038" y="6443"/>
                  </a:cubicBezTo>
                  <a:cubicBezTo>
                    <a:pt x="4043" y="6443"/>
                    <a:pt x="4043" y="6443"/>
                    <a:pt x="4043" y="6443"/>
                  </a:cubicBezTo>
                  <a:cubicBezTo>
                    <a:pt x="4044" y="6441"/>
                    <a:pt x="4044" y="6439"/>
                    <a:pt x="4045" y="6437"/>
                  </a:cubicBezTo>
                  <a:cubicBezTo>
                    <a:pt x="4046" y="6430"/>
                    <a:pt x="4048" y="6425"/>
                    <a:pt x="4051" y="6421"/>
                  </a:cubicBezTo>
                  <a:cubicBezTo>
                    <a:pt x="4066" y="6417"/>
                    <a:pt x="4084" y="6443"/>
                    <a:pt x="4059" y="6467"/>
                  </a:cubicBezTo>
                  <a:cubicBezTo>
                    <a:pt x="4024" y="6500"/>
                    <a:pt x="4006" y="6516"/>
                    <a:pt x="4017" y="6516"/>
                  </a:cubicBezTo>
                  <a:cubicBezTo>
                    <a:pt x="4027" y="6516"/>
                    <a:pt x="4080" y="6550"/>
                    <a:pt x="4108" y="6550"/>
                  </a:cubicBezTo>
                  <a:cubicBezTo>
                    <a:pt x="4136" y="6550"/>
                    <a:pt x="4193" y="6533"/>
                    <a:pt x="4203" y="6529"/>
                  </a:cubicBezTo>
                  <a:cubicBezTo>
                    <a:pt x="4214" y="6525"/>
                    <a:pt x="4288" y="6513"/>
                    <a:pt x="4298" y="6500"/>
                  </a:cubicBezTo>
                  <a:cubicBezTo>
                    <a:pt x="4299" y="6500"/>
                    <a:pt x="4301" y="6499"/>
                    <a:pt x="4302" y="6498"/>
                  </a:cubicBezTo>
                  <a:cubicBezTo>
                    <a:pt x="4298" y="6498"/>
                    <a:pt x="4298" y="6498"/>
                    <a:pt x="4298" y="6498"/>
                  </a:cubicBezTo>
                  <a:cubicBezTo>
                    <a:pt x="4299" y="6488"/>
                    <a:pt x="4237" y="6491"/>
                    <a:pt x="4207" y="6479"/>
                  </a:cubicBezTo>
                  <a:cubicBezTo>
                    <a:pt x="4194" y="6474"/>
                    <a:pt x="4176" y="6460"/>
                    <a:pt x="4160" y="6443"/>
                  </a:cubicBezTo>
                  <a:cubicBezTo>
                    <a:pt x="4170" y="6443"/>
                    <a:pt x="4170" y="6443"/>
                    <a:pt x="4170" y="6443"/>
                  </a:cubicBezTo>
                  <a:cubicBezTo>
                    <a:pt x="4146" y="6420"/>
                    <a:pt x="4123" y="6390"/>
                    <a:pt x="4118" y="6375"/>
                  </a:cubicBezTo>
                  <a:cubicBezTo>
                    <a:pt x="4117" y="6371"/>
                    <a:pt x="4116" y="6366"/>
                    <a:pt x="4116" y="6361"/>
                  </a:cubicBezTo>
                  <a:cubicBezTo>
                    <a:pt x="4109" y="6361"/>
                    <a:pt x="4109" y="6361"/>
                    <a:pt x="4109" y="6361"/>
                  </a:cubicBezTo>
                  <a:cubicBezTo>
                    <a:pt x="4107" y="6343"/>
                    <a:pt x="4108" y="6322"/>
                    <a:pt x="4115" y="6306"/>
                  </a:cubicBezTo>
                  <a:cubicBezTo>
                    <a:pt x="4120" y="6306"/>
                    <a:pt x="4120" y="6306"/>
                    <a:pt x="4120" y="6306"/>
                  </a:cubicBezTo>
                  <a:cubicBezTo>
                    <a:pt x="4124" y="6297"/>
                    <a:pt x="4129" y="6288"/>
                    <a:pt x="4136" y="6283"/>
                  </a:cubicBezTo>
                  <a:cubicBezTo>
                    <a:pt x="4152" y="6273"/>
                    <a:pt x="4181" y="6246"/>
                    <a:pt x="4205" y="6224"/>
                  </a:cubicBezTo>
                  <a:cubicBezTo>
                    <a:pt x="4203" y="6224"/>
                    <a:pt x="4203" y="6224"/>
                    <a:pt x="4203" y="6224"/>
                  </a:cubicBezTo>
                  <a:cubicBezTo>
                    <a:pt x="4214" y="6213"/>
                    <a:pt x="4223" y="6204"/>
                    <a:pt x="4228" y="6200"/>
                  </a:cubicBezTo>
                  <a:cubicBezTo>
                    <a:pt x="4234" y="6195"/>
                    <a:pt x="4240" y="6183"/>
                    <a:pt x="4246" y="6169"/>
                  </a:cubicBezTo>
                  <a:cubicBezTo>
                    <a:pt x="4251" y="6169"/>
                    <a:pt x="4251" y="6169"/>
                    <a:pt x="4251" y="6169"/>
                  </a:cubicBezTo>
                  <a:cubicBezTo>
                    <a:pt x="4260" y="6148"/>
                    <a:pt x="4266" y="6122"/>
                    <a:pt x="4259" y="6117"/>
                  </a:cubicBezTo>
                  <a:cubicBezTo>
                    <a:pt x="4249" y="6109"/>
                    <a:pt x="4196" y="6117"/>
                    <a:pt x="4189" y="6104"/>
                  </a:cubicBezTo>
                  <a:cubicBezTo>
                    <a:pt x="4186" y="6099"/>
                    <a:pt x="4184" y="6094"/>
                    <a:pt x="4186" y="6087"/>
                  </a:cubicBezTo>
                  <a:cubicBezTo>
                    <a:pt x="4180" y="6087"/>
                    <a:pt x="4180" y="6087"/>
                    <a:pt x="4180" y="6087"/>
                  </a:cubicBezTo>
                  <a:cubicBezTo>
                    <a:pt x="4184" y="6077"/>
                    <a:pt x="4192" y="6065"/>
                    <a:pt x="4210" y="6051"/>
                  </a:cubicBezTo>
                  <a:cubicBezTo>
                    <a:pt x="4218" y="6045"/>
                    <a:pt x="4224" y="6038"/>
                    <a:pt x="4230" y="6032"/>
                  </a:cubicBezTo>
                  <a:cubicBezTo>
                    <a:pt x="4232" y="6032"/>
                    <a:pt x="4232" y="6032"/>
                    <a:pt x="4232" y="6032"/>
                  </a:cubicBezTo>
                  <a:cubicBezTo>
                    <a:pt x="4258" y="6005"/>
                    <a:pt x="4272" y="5974"/>
                    <a:pt x="4284" y="5963"/>
                  </a:cubicBezTo>
                  <a:cubicBezTo>
                    <a:pt x="4288" y="5960"/>
                    <a:pt x="4293" y="5955"/>
                    <a:pt x="4299" y="5949"/>
                  </a:cubicBezTo>
                  <a:cubicBezTo>
                    <a:pt x="4296" y="5949"/>
                    <a:pt x="4296" y="5949"/>
                    <a:pt x="4296" y="5949"/>
                  </a:cubicBezTo>
                  <a:cubicBezTo>
                    <a:pt x="4309" y="5936"/>
                    <a:pt x="4323" y="5920"/>
                    <a:pt x="4330" y="5901"/>
                  </a:cubicBezTo>
                  <a:cubicBezTo>
                    <a:pt x="4331" y="5898"/>
                    <a:pt x="4331" y="5896"/>
                    <a:pt x="4332" y="5894"/>
                  </a:cubicBezTo>
                  <a:cubicBezTo>
                    <a:pt x="4337" y="5894"/>
                    <a:pt x="4337" y="5894"/>
                    <a:pt x="4337" y="5894"/>
                  </a:cubicBezTo>
                  <a:cubicBezTo>
                    <a:pt x="4346" y="5869"/>
                    <a:pt x="4325" y="5884"/>
                    <a:pt x="4305" y="5884"/>
                  </a:cubicBezTo>
                  <a:cubicBezTo>
                    <a:pt x="4284" y="5884"/>
                    <a:pt x="4273" y="5838"/>
                    <a:pt x="4273" y="5817"/>
                  </a:cubicBezTo>
                  <a:cubicBezTo>
                    <a:pt x="4273" y="5816"/>
                    <a:pt x="4274" y="5816"/>
                    <a:pt x="4274" y="5815"/>
                  </a:cubicBezTo>
                  <a:cubicBezTo>
                    <a:pt x="4290" y="5813"/>
                    <a:pt x="4328" y="5832"/>
                    <a:pt x="4358" y="5838"/>
                  </a:cubicBezTo>
                  <a:cubicBezTo>
                    <a:pt x="4372" y="5841"/>
                    <a:pt x="4378" y="5839"/>
                    <a:pt x="4381" y="5835"/>
                  </a:cubicBezTo>
                  <a:cubicBezTo>
                    <a:pt x="4391" y="5833"/>
                    <a:pt x="4390" y="5824"/>
                    <a:pt x="4388" y="5812"/>
                  </a:cubicBezTo>
                  <a:cubicBezTo>
                    <a:pt x="4380" y="5812"/>
                    <a:pt x="4380" y="5812"/>
                    <a:pt x="4380" y="5812"/>
                  </a:cubicBezTo>
                  <a:cubicBezTo>
                    <a:pt x="4379" y="5806"/>
                    <a:pt x="4377" y="5799"/>
                    <a:pt x="4376" y="5793"/>
                  </a:cubicBezTo>
                  <a:cubicBezTo>
                    <a:pt x="4374" y="5782"/>
                    <a:pt x="4376" y="5768"/>
                    <a:pt x="4379" y="5757"/>
                  </a:cubicBezTo>
                  <a:cubicBezTo>
                    <a:pt x="4384" y="5757"/>
                    <a:pt x="4384" y="5757"/>
                    <a:pt x="4384" y="5757"/>
                  </a:cubicBezTo>
                  <a:cubicBezTo>
                    <a:pt x="4386" y="5749"/>
                    <a:pt x="4389" y="5742"/>
                    <a:pt x="4393" y="5737"/>
                  </a:cubicBezTo>
                  <a:cubicBezTo>
                    <a:pt x="4397" y="5736"/>
                    <a:pt x="4400" y="5736"/>
                    <a:pt x="4404" y="5739"/>
                  </a:cubicBezTo>
                  <a:cubicBezTo>
                    <a:pt x="4425" y="5751"/>
                    <a:pt x="4534" y="5734"/>
                    <a:pt x="4548" y="5730"/>
                  </a:cubicBezTo>
                  <a:cubicBezTo>
                    <a:pt x="4550" y="5730"/>
                    <a:pt x="4552" y="5728"/>
                    <a:pt x="4554" y="5726"/>
                  </a:cubicBezTo>
                  <a:cubicBezTo>
                    <a:pt x="4554" y="5726"/>
                    <a:pt x="4555" y="5726"/>
                    <a:pt x="4555" y="5726"/>
                  </a:cubicBezTo>
                  <a:cubicBezTo>
                    <a:pt x="4563" y="5724"/>
                    <a:pt x="4578" y="5700"/>
                    <a:pt x="4593" y="5675"/>
                  </a:cubicBezTo>
                  <a:cubicBezTo>
                    <a:pt x="4589" y="5675"/>
                    <a:pt x="4589" y="5675"/>
                    <a:pt x="4589" y="5675"/>
                  </a:cubicBezTo>
                  <a:cubicBezTo>
                    <a:pt x="4599" y="5657"/>
                    <a:pt x="4609" y="5639"/>
                    <a:pt x="4615" y="5630"/>
                  </a:cubicBezTo>
                  <a:cubicBezTo>
                    <a:pt x="4618" y="5627"/>
                    <a:pt x="4619" y="5623"/>
                    <a:pt x="4621" y="5620"/>
                  </a:cubicBezTo>
                  <a:cubicBezTo>
                    <a:pt x="4625" y="5620"/>
                    <a:pt x="4625" y="5620"/>
                    <a:pt x="4625" y="5620"/>
                  </a:cubicBezTo>
                  <a:cubicBezTo>
                    <a:pt x="4636" y="5601"/>
                    <a:pt x="4638" y="5583"/>
                    <a:pt x="4622" y="5572"/>
                  </a:cubicBezTo>
                  <a:cubicBezTo>
                    <a:pt x="4614" y="5566"/>
                    <a:pt x="4598" y="5552"/>
                    <a:pt x="4584" y="5538"/>
                  </a:cubicBezTo>
                  <a:cubicBezTo>
                    <a:pt x="4573" y="5538"/>
                    <a:pt x="4573" y="5538"/>
                    <a:pt x="4573" y="5538"/>
                  </a:cubicBezTo>
                  <a:cubicBezTo>
                    <a:pt x="4558" y="5523"/>
                    <a:pt x="4545" y="5509"/>
                    <a:pt x="4542" y="5503"/>
                  </a:cubicBezTo>
                  <a:cubicBezTo>
                    <a:pt x="4540" y="5500"/>
                    <a:pt x="4540" y="5492"/>
                    <a:pt x="4542" y="5483"/>
                  </a:cubicBezTo>
                  <a:cubicBezTo>
                    <a:pt x="4548" y="5483"/>
                    <a:pt x="4548" y="5483"/>
                    <a:pt x="4548" y="5483"/>
                  </a:cubicBezTo>
                  <a:cubicBezTo>
                    <a:pt x="4551" y="5461"/>
                    <a:pt x="4562" y="5424"/>
                    <a:pt x="4569" y="5403"/>
                  </a:cubicBezTo>
                  <a:cubicBezTo>
                    <a:pt x="4573" y="5431"/>
                    <a:pt x="4576" y="5522"/>
                    <a:pt x="4615" y="5535"/>
                  </a:cubicBezTo>
                  <a:cubicBezTo>
                    <a:pt x="4665" y="5551"/>
                    <a:pt x="4693" y="5560"/>
                    <a:pt x="4738" y="5510"/>
                  </a:cubicBezTo>
                  <a:cubicBezTo>
                    <a:pt x="4747" y="5500"/>
                    <a:pt x="4756" y="5491"/>
                    <a:pt x="4764" y="5483"/>
                  </a:cubicBezTo>
                  <a:cubicBezTo>
                    <a:pt x="4766" y="5483"/>
                    <a:pt x="4766" y="5483"/>
                    <a:pt x="4766" y="5483"/>
                  </a:cubicBezTo>
                  <a:cubicBezTo>
                    <a:pt x="4796" y="5450"/>
                    <a:pt x="4819" y="5425"/>
                    <a:pt x="4827" y="5400"/>
                  </a:cubicBezTo>
                  <a:cubicBezTo>
                    <a:pt x="4821" y="5400"/>
                    <a:pt x="4821" y="5400"/>
                    <a:pt x="4821" y="5400"/>
                  </a:cubicBezTo>
                  <a:cubicBezTo>
                    <a:pt x="4822" y="5398"/>
                    <a:pt x="4823" y="5396"/>
                    <a:pt x="4823" y="5393"/>
                  </a:cubicBezTo>
                  <a:cubicBezTo>
                    <a:pt x="4825" y="5376"/>
                    <a:pt x="4828" y="5360"/>
                    <a:pt x="4834" y="5346"/>
                  </a:cubicBezTo>
                  <a:cubicBezTo>
                    <a:pt x="4839" y="5346"/>
                    <a:pt x="4839" y="5346"/>
                    <a:pt x="4839" y="5346"/>
                  </a:cubicBezTo>
                  <a:cubicBezTo>
                    <a:pt x="4844" y="5331"/>
                    <a:pt x="4851" y="5318"/>
                    <a:pt x="4860" y="5311"/>
                  </a:cubicBezTo>
                  <a:cubicBezTo>
                    <a:pt x="4867" y="5307"/>
                    <a:pt x="4874" y="5305"/>
                    <a:pt x="4882" y="5299"/>
                  </a:cubicBezTo>
                  <a:cubicBezTo>
                    <a:pt x="4890" y="5295"/>
                    <a:pt x="4899" y="5286"/>
                    <a:pt x="4910" y="5263"/>
                  </a:cubicBezTo>
                  <a:cubicBezTo>
                    <a:pt x="4905" y="5263"/>
                    <a:pt x="4905" y="5263"/>
                    <a:pt x="4905" y="5263"/>
                  </a:cubicBezTo>
                  <a:cubicBezTo>
                    <a:pt x="4906" y="5261"/>
                    <a:pt x="4907" y="5259"/>
                    <a:pt x="4908" y="5257"/>
                  </a:cubicBezTo>
                  <a:cubicBezTo>
                    <a:pt x="4927" y="5208"/>
                    <a:pt x="4943" y="5236"/>
                    <a:pt x="4961" y="5208"/>
                  </a:cubicBezTo>
                  <a:cubicBezTo>
                    <a:pt x="4965" y="5208"/>
                    <a:pt x="4965" y="5208"/>
                    <a:pt x="4965" y="5208"/>
                  </a:cubicBezTo>
                  <a:cubicBezTo>
                    <a:pt x="4968" y="5205"/>
                    <a:pt x="4971" y="5200"/>
                    <a:pt x="4974" y="5194"/>
                  </a:cubicBezTo>
                  <a:cubicBezTo>
                    <a:pt x="4984" y="5172"/>
                    <a:pt x="4977" y="5149"/>
                    <a:pt x="4971" y="5126"/>
                  </a:cubicBezTo>
                  <a:cubicBezTo>
                    <a:pt x="4963" y="5126"/>
                    <a:pt x="4963" y="5126"/>
                    <a:pt x="4963" y="5126"/>
                  </a:cubicBezTo>
                  <a:cubicBezTo>
                    <a:pt x="4958" y="5106"/>
                    <a:pt x="4955" y="5087"/>
                    <a:pt x="4965" y="5071"/>
                  </a:cubicBezTo>
                  <a:cubicBezTo>
                    <a:pt x="4969" y="5071"/>
                    <a:pt x="4969" y="5071"/>
                    <a:pt x="4969" y="5071"/>
                  </a:cubicBezTo>
                  <a:cubicBezTo>
                    <a:pt x="4972" y="5066"/>
                    <a:pt x="4975" y="5061"/>
                    <a:pt x="4981" y="5056"/>
                  </a:cubicBezTo>
                  <a:cubicBezTo>
                    <a:pt x="4992" y="5047"/>
                    <a:pt x="5006" y="5038"/>
                    <a:pt x="5020" y="5028"/>
                  </a:cubicBezTo>
                  <a:cubicBezTo>
                    <a:pt x="5023" y="5026"/>
                    <a:pt x="5026" y="5024"/>
                    <a:pt x="5029" y="5022"/>
                  </a:cubicBezTo>
                  <a:cubicBezTo>
                    <a:pt x="5029" y="5022"/>
                    <a:pt x="5030" y="5022"/>
                    <a:pt x="5030" y="5022"/>
                  </a:cubicBezTo>
                  <a:cubicBezTo>
                    <a:pt x="5062" y="5002"/>
                    <a:pt x="5090" y="4986"/>
                    <a:pt x="5090" y="4986"/>
                  </a:cubicBezTo>
                  <a:cubicBezTo>
                    <a:pt x="5090" y="4986"/>
                    <a:pt x="5112" y="4973"/>
                    <a:pt x="5154" y="4961"/>
                  </a:cubicBezTo>
                  <a:cubicBezTo>
                    <a:pt x="5195" y="4949"/>
                    <a:pt x="5238" y="4956"/>
                    <a:pt x="5254" y="4934"/>
                  </a:cubicBezTo>
                  <a:cubicBezTo>
                    <a:pt x="5257" y="4934"/>
                    <a:pt x="5257" y="4934"/>
                    <a:pt x="5257" y="4934"/>
                  </a:cubicBezTo>
                  <a:cubicBezTo>
                    <a:pt x="5259" y="4932"/>
                    <a:pt x="5261" y="4930"/>
                    <a:pt x="5263" y="4927"/>
                  </a:cubicBezTo>
                  <a:cubicBezTo>
                    <a:pt x="5272" y="4910"/>
                    <a:pt x="5282" y="4879"/>
                    <a:pt x="5294" y="4852"/>
                  </a:cubicBezTo>
                  <a:cubicBezTo>
                    <a:pt x="5290" y="4852"/>
                    <a:pt x="5290" y="4852"/>
                    <a:pt x="5290" y="4852"/>
                  </a:cubicBezTo>
                  <a:cubicBezTo>
                    <a:pt x="5294" y="4841"/>
                    <a:pt x="5300" y="4831"/>
                    <a:pt x="5305" y="4823"/>
                  </a:cubicBezTo>
                  <a:cubicBezTo>
                    <a:pt x="5311" y="4815"/>
                    <a:pt x="5317" y="4806"/>
                    <a:pt x="5323" y="4797"/>
                  </a:cubicBezTo>
                  <a:cubicBezTo>
                    <a:pt x="5327" y="4797"/>
                    <a:pt x="5327" y="4797"/>
                    <a:pt x="5327" y="4797"/>
                  </a:cubicBezTo>
                  <a:cubicBezTo>
                    <a:pt x="5343" y="4770"/>
                    <a:pt x="5355" y="4739"/>
                    <a:pt x="5347" y="4723"/>
                  </a:cubicBezTo>
                  <a:cubicBezTo>
                    <a:pt x="5346" y="4721"/>
                    <a:pt x="5346" y="4718"/>
                    <a:pt x="5346" y="4714"/>
                  </a:cubicBezTo>
                  <a:cubicBezTo>
                    <a:pt x="5339" y="4714"/>
                    <a:pt x="5339" y="4714"/>
                    <a:pt x="5339" y="4714"/>
                  </a:cubicBezTo>
                  <a:cubicBezTo>
                    <a:pt x="5340" y="4700"/>
                    <a:pt x="5345" y="4680"/>
                    <a:pt x="5351" y="4659"/>
                  </a:cubicBezTo>
                  <a:cubicBezTo>
                    <a:pt x="5356" y="4659"/>
                    <a:pt x="5356" y="4659"/>
                    <a:pt x="5356" y="4659"/>
                  </a:cubicBezTo>
                  <a:cubicBezTo>
                    <a:pt x="5364" y="4630"/>
                    <a:pt x="5374" y="4599"/>
                    <a:pt x="5372" y="4586"/>
                  </a:cubicBezTo>
                  <a:cubicBezTo>
                    <a:pt x="5371" y="4584"/>
                    <a:pt x="5371" y="4580"/>
                    <a:pt x="5370" y="4577"/>
                  </a:cubicBezTo>
                  <a:cubicBezTo>
                    <a:pt x="5362" y="4577"/>
                    <a:pt x="5362" y="4577"/>
                    <a:pt x="5362" y="4577"/>
                  </a:cubicBezTo>
                  <a:cubicBezTo>
                    <a:pt x="5358" y="4563"/>
                    <a:pt x="5352" y="4543"/>
                    <a:pt x="5353" y="4522"/>
                  </a:cubicBezTo>
                  <a:cubicBezTo>
                    <a:pt x="5359" y="4522"/>
                    <a:pt x="5359" y="4522"/>
                    <a:pt x="5359" y="4522"/>
                  </a:cubicBezTo>
                  <a:cubicBezTo>
                    <a:pt x="5359" y="4500"/>
                    <a:pt x="5365" y="4476"/>
                    <a:pt x="5389" y="4453"/>
                  </a:cubicBezTo>
                  <a:cubicBezTo>
                    <a:pt x="5394" y="4449"/>
                    <a:pt x="5398" y="4444"/>
                    <a:pt x="5403" y="4440"/>
                  </a:cubicBezTo>
                  <a:cubicBezTo>
                    <a:pt x="5400" y="4440"/>
                    <a:pt x="5400" y="4440"/>
                    <a:pt x="5400" y="4440"/>
                  </a:cubicBezTo>
                  <a:cubicBezTo>
                    <a:pt x="5418" y="4422"/>
                    <a:pt x="5434" y="4403"/>
                    <a:pt x="5449" y="4385"/>
                  </a:cubicBezTo>
                  <a:cubicBezTo>
                    <a:pt x="5452" y="4385"/>
                    <a:pt x="5452" y="4385"/>
                    <a:pt x="5452" y="4385"/>
                  </a:cubicBezTo>
                  <a:cubicBezTo>
                    <a:pt x="5479" y="4351"/>
                    <a:pt x="5500" y="4320"/>
                    <a:pt x="5502" y="4308"/>
                  </a:cubicBezTo>
                  <a:cubicBezTo>
                    <a:pt x="5502" y="4306"/>
                    <a:pt x="5503" y="4304"/>
                    <a:pt x="5503" y="4303"/>
                  </a:cubicBezTo>
                  <a:cubicBezTo>
                    <a:pt x="5498" y="4303"/>
                    <a:pt x="5498" y="4303"/>
                    <a:pt x="5498" y="4303"/>
                  </a:cubicBezTo>
                  <a:cubicBezTo>
                    <a:pt x="5502" y="4290"/>
                    <a:pt x="5510" y="4270"/>
                    <a:pt x="5518" y="4248"/>
                  </a:cubicBezTo>
                  <a:cubicBezTo>
                    <a:pt x="5523" y="4248"/>
                    <a:pt x="5523" y="4248"/>
                    <a:pt x="5523" y="4248"/>
                  </a:cubicBezTo>
                  <a:cubicBezTo>
                    <a:pt x="5533" y="4219"/>
                    <a:pt x="5543" y="4188"/>
                    <a:pt x="5544" y="4165"/>
                  </a:cubicBezTo>
                  <a:cubicBezTo>
                    <a:pt x="5537" y="4165"/>
                    <a:pt x="5537" y="4165"/>
                    <a:pt x="5537" y="4165"/>
                  </a:cubicBezTo>
                  <a:cubicBezTo>
                    <a:pt x="5537" y="4164"/>
                    <a:pt x="5538" y="4163"/>
                    <a:pt x="5538" y="4162"/>
                  </a:cubicBezTo>
                  <a:close/>
                  <a:moveTo>
                    <a:pt x="3360" y="1695"/>
                  </a:moveTo>
                  <a:cubicBezTo>
                    <a:pt x="3353" y="1695"/>
                    <a:pt x="3353" y="1695"/>
                    <a:pt x="3353" y="1695"/>
                  </a:cubicBezTo>
                  <a:cubicBezTo>
                    <a:pt x="3354" y="1690"/>
                    <a:pt x="3354" y="1686"/>
                    <a:pt x="3355" y="1683"/>
                  </a:cubicBezTo>
                  <a:cubicBezTo>
                    <a:pt x="3356" y="1673"/>
                    <a:pt x="3355" y="1658"/>
                    <a:pt x="3354" y="1640"/>
                  </a:cubicBezTo>
                  <a:cubicBezTo>
                    <a:pt x="3361" y="1640"/>
                    <a:pt x="3361" y="1640"/>
                    <a:pt x="3361" y="1640"/>
                  </a:cubicBezTo>
                  <a:cubicBezTo>
                    <a:pt x="3359" y="1613"/>
                    <a:pt x="3356" y="1579"/>
                    <a:pt x="3365" y="1558"/>
                  </a:cubicBezTo>
                  <a:cubicBezTo>
                    <a:pt x="3365" y="1558"/>
                    <a:pt x="3365" y="1558"/>
                    <a:pt x="3365" y="1558"/>
                  </a:cubicBezTo>
                  <a:cubicBezTo>
                    <a:pt x="3361" y="1558"/>
                    <a:pt x="3361" y="1558"/>
                    <a:pt x="3361" y="1558"/>
                  </a:cubicBezTo>
                  <a:cubicBezTo>
                    <a:pt x="3377" y="1528"/>
                    <a:pt x="3416" y="1516"/>
                    <a:pt x="3443" y="1512"/>
                  </a:cubicBezTo>
                  <a:cubicBezTo>
                    <a:pt x="3471" y="1508"/>
                    <a:pt x="3531" y="1533"/>
                    <a:pt x="3542" y="1529"/>
                  </a:cubicBezTo>
                  <a:cubicBezTo>
                    <a:pt x="3552" y="1525"/>
                    <a:pt x="3601" y="1525"/>
                    <a:pt x="3626" y="1529"/>
                  </a:cubicBezTo>
                  <a:cubicBezTo>
                    <a:pt x="3648" y="1533"/>
                    <a:pt x="3678" y="1592"/>
                    <a:pt x="3672" y="1608"/>
                  </a:cubicBezTo>
                  <a:cubicBezTo>
                    <a:pt x="3654" y="1610"/>
                    <a:pt x="3629" y="1590"/>
                    <a:pt x="3629" y="1562"/>
                  </a:cubicBezTo>
                  <a:cubicBezTo>
                    <a:pt x="3629" y="1560"/>
                    <a:pt x="3629" y="1559"/>
                    <a:pt x="3629" y="1558"/>
                  </a:cubicBezTo>
                  <a:cubicBezTo>
                    <a:pt x="3626" y="1558"/>
                    <a:pt x="3626" y="1558"/>
                    <a:pt x="3626" y="1558"/>
                  </a:cubicBezTo>
                  <a:cubicBezTo>
                    <a:pt x="3625" y="1560"/>
                    <a:pt x="3624" y="1563"/>
                    <a:pt x="3622" y="1567"/>
                  </a:cubicBezTo>
                  <a:cubicBezTo>
                    <a:pt x="3622" y="1567"/>
                    <a:pt x="3622" y="1566"/>
                    <a:pt x="3622" y="1566"/>
                  </a:cubicBezTo>
                  <a:cubicBezTo>
                    <a:pt x="3622" y="1537"/>
                    <a:pt x="3598" y="1620"/>
                    <a:pt x="3612" y="1645"/>
                  </a:cubicBezTo>
                  <a:cubicBezTo>
                    <a:pt x="3623" y="1665"/>
                    <a:pt x="3600" y="1686"/>
                    <a:pt x="3583" y="1695"/>
                  </a:cubicBezTo>
                  <a:cubicBezTo>
                    <a:pt x="3577" y="1695"/>
                    <a:pt x="3577" y="1695"/>
                    <a:pt x="3577" y="1695"/>
                  </a:cubicBezTo>
                  <a:cubicBezTo>
                    <a:pt x="3577" y="1695"/>
                    <a:pt x="3576" y="1695"/>
                    <a:pt x="3576" y="1695"/>
                  </a:cubicBezTo>
                  <a:cubicBezTo>
                    <a:pt x="3576" y="1695"/>
                    <a:pt x="3576" y="1695"/>
                    <a:pt x="3576" y="1695"/>
                  </a:cubicBezTo>
                  <a:cubicBezTo>
                    <a:pt x="3562" y="1695"/>
                    <a:pt x="3562" y="1695"/>
                    <a:pt x="3562" y="1695"/>
                  </a:cubicBezTo>
                  <a:cubicBezTo>
                    <a:pt x="3554" y="1686"/>
                    <a:pt x="3548" y="1665"/>
                    <a:pt x="3548" y="1640"/>
                  </a:cubicBezTo>
                  <a:cubicBezTo>
                    <a:pt x="3555" y="1640"/>
                    <a:pt x="3555" y="1640"/>
                    <a:pt x="3555" y="1640"/>
                  </a:cubicBezTo>
                  <a:cubicBezTo>
                    <a:pt x="3554" y="1634"/>
                    <a:pt x="3554" y="1627"/>
                    <a:pt x="3555" y="1620"/>
                  </a:cubicBezTo>
                  <a:cubicBezTo>
                    <a:pt x="3558" y="1593"/>
                    <a:pt x="3545" y="1568"/>
                    <a:pt x="3523" y="1558"/>
                  </a:cubicBezTo>
                  <a:cubicBezTo>
                    <a:pt x="3479" y="1558"/>
                    <a:pt x="3479" y="1558"/>
                    <a:pt x="3479" y="1558"/>
                  </a:cubicBezTo>
                  <a:cubicBezTo>
                    <a:pt x="3476" y="1559"/>
                    <a:pt x="3473" y="1562"/>
                    <a:pt x="3470" y="1564"/>
                  </a:cubicBezTo>
                  <a:cubicBezTo>
                    <a:pt x="3444" y="1575"/>
                    <a:pt x="3430" y="1602"/>
                    <a:pt x="3418" y="1612"/>
                  </a:cubicBezTo>
                  <a:cubicBezTo>
                    <a:pt x="3404" y="1625"/>
                    <a:pt x="3404" y="1695"/>
                    <a:pt x="3408" y="1712"/>
                  </a:cubicBezTo>
                  <a:cubicBezTo>
                    <a:pt x="3410" y="1724"/>
                    <a:pt x="3411" y="1760"/>
                    <a:pt x="3396" y="1776"/>
                  </a:cubicBezTo>
                  <a:cubicBezTo>
                    <a:pt x="3395" y="1776"/>
                    <a:pt x="3395" y="1777"/>
                    <a:pt x="3393" y="1777"/>
                  </a:cubicBezTo>
                  <a:cubicBezTo>
                    <a:pt x="3394" y="1777"/>
                    <a:pt x="3394" y="1777"/>
                    <a:pt x="3394" y="1777"/>
                  </a:cubicBezTo>
                  <a:cubicBezTo>
                    <a:pt x="3389" y="1781"/>
                    <a:pt x="3384" y="1784"/>
                    <a:pt x="3376" y="1783"/>
                  </a:cubicBezTo>
                  <a:cubicBezTo>
                    <a:pt x="3372" y="1782"/>
                    <a:pt x="3368" y="1780"/>
                    <a:pt x="3365" y="1777"/>
                  </a:cubicBezTo>
                  <a:cubicBezTo>
                    <a:pt x="3380" y="1777"/>
                    <a:pt x="3380" y="1777"/>
                    <a:pt x="3380" y="1777"/>
                  </a:cubicBezTo>
                  <a:cubicBezTo>
                    <a:pt x="3357" y="1771"/>
                    <a:pt x="3357" y="1725"/>
                    <a:pt x="3360" y="1695"/>
                  </a:cubicBezTo>
                  <a:close/>
                  <a:moveTo>
                    <a:pt x="3573" y="1783"/>
                  </a:moveTo>
                  <a:cubicBezTo>
                    <a:pt x="3572" y="1781"/>
                    <a:pt x="3572" y="1779"/>
                    <a:pt x="3571" y="1777"/>
                  </a:cubicBezTo>
                  <a:cubicBezTo>
                    <a:pt x="3579" y="1777"/>
                    <a:pt x="3579" y="1777"/>
                    <a:pt x="3579" y="1777"/>
                  </a:cubicBezTo>
                  <a:cubicBezTo>
                    <a:pt x="3576" y="1769"/>
                    <a:pt x="3576" y="1765"/>
                    <a:pt x="3577" y="1763"/>
                  </a:cubicBezTo>
                  <a:cubicBezTo>
                    <a:pt x="3577" y="1763"/>
                    <a:pt x="3578" y="1762"/>
                    <a:pt x="3579" y="1761"/>
                  </a:cubicBezTo>
                  <a:cubicBezTo>
                    <a:pt x="3581" y="1760"/>
                    <a:pt x="3585" y="1759"/>
                    <a:pt x="3587" y="1753"/>
                  </a:cubicBezTo>
                  <a:cubicBezTo>
                    <a:pt x="3588" y="1750"/>
                    <a:pt x="3592" y="1746"/>
                    <a:pt x="3598" y="1742"/>
                  </a:cubicBezTo>
                  <a:cubicBezTo>
                    <a:pt x="3618" y="1730"/>
                    <a:pt x="3647" y="1716"/>
                    <a:pt x="3647" y="1716"/>
                  </a:cubicBezTo>
                  <a:cubicBezTo>
                    <a:pt x="3647" y="1716"/>
                    <a:pt x="3648" y="1715"/>
                    <a:pt x="3648" y="1714"/>
                  </a:cubicBezTo>
                  <a:cubicBezTo>
                    <a:pt x="3651" y="1713"/>
                    <a:pt x="3654" y="1712"/>
                    <a:pt x="3654" y="1712"/>
                  </a:cubicBezTo>
                  <a:cubicBezTo>
                    <a:pt x="3654" y="1712"/>
                    <a:pt x="3659" y="1705"/>
                    <a:pt x="3666" y="1695"/>
                  </a:cubicBezTo>
                  <a:cubicBezTo>
                    <a:pt x="3663" y="1695"/>
                    <a:pt x="3663" y="1695"/>
                    <a:pt x="3663" y="1695"/>
                  </a:cubicBezTo>
                  <a:cubicBezTo>
                    <a:pt x="3676" y="1678"/>
                    <a:pt x="3695" y="1655"/>
                    <a:pt x="3709" y="1640"/>
                  </a:cubicBezTo>
                  <a:cubicBezTo>
                    <a:pt x="3712" y="1640"/>
                    <a:pt x="3712" y="1640"/>
                    <a:pt x="3712" y="1640"/>
                  </a:cubicBezTo>
                  <a:cubicBezTo>
                    <a:pt x="3718" y="1634"/>
                    <a:pt x="3723" y="1629"/>
                    <a:pt x="3728" y="1625"/>
                  </a:cubicBezTo>
                  <a:cubicBezTo>
                    <a:pt x="3729" y="1624"/>
                    <a:pt x="3731" y="1624"/>
                    <a:pt x="3732" y="1625"/>
                  </a:cubicBezTo>
                  <a:cubicBezTo>
                    <a:pt x="3742" y="1633"/>
                    <a:pt x="3816" y="1612"/>
                    <a:pt x="3830" y="1633"/>
                  </a:cubicBezTo>
                  <a:cubicBezTo>
                    <a:pt x="3844" y="1654"/>
                    <a:pt x="3816" y="1658"/>
                    <a:pt x="3781" y="1675"/>
                  </a:cubicBezTo>
                  <a:cubicBezTo>
                    <a:pt x="3746" y="1691"/>
                    <a:pt x="3735" y="1687"/>
                    <a:pt x="3721" y="1708"/>
                  </a:cubicBezTo>
                  <a:cubicBezTo>
                    <a:pt x="3718" y="1712"/>
                    <a:pt x="3714" y="1716"/>
                    <a:pt x="3709" y="1719"/>
                  </a:cubicBezTo>
                  <a:cubicBezTo>
                    <a:pt x="3695" y="1727"/>
                    <a:pt x="3677" y="1734"/>
                    <a:pt x="3662" y="1744"/>
                  </a:cubicBezTo>
                  <a:cubicBezTo>
                    <a:pt x="3654" y="1749"/>
                    <a:pt x="3646" y="1755"/>
                    <a:pt x="3640" y="1762"/>
                  </a:cubicBezTo>
                  <a:cubicBezTo>
                    <a:pt x="3635" y="1767"/>
                    <a:pt x="3630" y="1772"/>
                    <a:pt x="3624" y="1777"/>
                  </a:cubicBezTo>
                  <a:cubicBezTo>
                    <a:pt x="3624" y="1777"/>
                    <a:pt x="3623" y="1777"/>
                    <a:pt x="3623" y="1777"/>
                  </a:cubicBezTo>
                  <a:cubicBezTo>
                    <a:pt x="3623" y="1777"/>
                    <a:pt x="3623" y="1777"/>
                    <a:pt x="3623" y="1777"/>
                  </a:cubicBezTo>
                  <a:cubicBezTo>
                    <a:pt x="3603" y="1792"/>
                    <a:pt x="3579" y="1797"/>
                    <a:pt x="3573" y="1783"/>
                  </a:cubicBezTo>
                  <a:close/>
                  <a:moveTo>
                    <a:pt x="1792" y="1388"/>
                  </a:moveTo>
                  <a:cubicBezTo>
                    <a:pt x="1786" y="1384"/>
                    <a:pt x="1779" y="1375"/>
                    <a:pt x="1772" y="1366"/>
                  </a:cubicBezTo>
                  <a:cubicBezTo>
                    <a:pt x="1782" y="1366"/>
                    <a:pt x="1782" y="1366"/>
                    <a:pt x="1782" y="1366"/>
                  </a:cubicBezTo>
                  <a:cubicBezTo>
                    <a:pt x="1771" y="1351"/>
                    <a:pt x="1760" y="1333"/>
                    <a:pt x="1760" y="1325"/>
                  </a:cubicBezTo>
                  <a:cubicBezTo>
                    <a:pt x="1761" y="1325"/>
                    <a:pt x="1762" y="1324"/>
                    <a:pt x="1764" y="1325"/>
                  </a:cubicBezTo>
                  <a:cubicBezTo>
                    <a:pt x="1774" y="1329"/>
                    <a:pt x="1795" y="1354"/>
                    <a:pt x="1806" y="1354"/>
                  </a:cubicBezTo>
                  <a:cubicBezTo>
                    <a:pt x="1816" y="1354"/>
                    <a:pt x="1869" y="1404"/>
                    <a:pt x="1883" y="1421"/>
                  </a:cubicBezTo>
                  <a:cubicBezTo>
                    <a:pt x="1895" y="1435"/>
                    <a:pt x="1897" y="1471"/>
                    <a:pt x="1886" y="1483"/>
                  </a:cubicBezTo>
                  <a:cubicBezTo>
                    <a:pt x="1870" y="1487"/>
                    <a:pt x="1859" y="1443"/>
                    <a:pt x="1855" y="1421"/>
                  </a:cubicBezTo>
                  <a:cubicBezTo>
                    <a:pt x="1848" y="1421"/>
                    <a:pt x="1848" y="1421"/>
                    <a:pt x="1848" y="1421"/>
                  </a:cubicBezTo>
                  <a:cubicBezTo>
                    <a:pt x="1844" y="1400"/>
                    <a:pt x="1809" y="1400"/>
                    <a:pt x="1792" y="1388"/>
                  </a:cubicBezTo>
                  <a:close/>
                  <a:moveTo>
                    <a:pt x="3455" y="1475"/>
                  </a:moveTo>
                  <a:cubicBezTo>
                    <a:pt x="3443" y="1478"/>
                    <a:pt x="3406" y="1466"/>
                    <a:pt x="3376" y="1466"/>
                  </a:cubicBezTo>
                  <a:cubicBezTo>
                    <a:pt x="3344" y="1466"/>
                    <a:pt x="3351" y="1442"/>
                    <a:pt x="3337" y="1446"/>
                  </a:cubicBezTo>
                  <a:cubicBezTo>
                    <a:pt x="3323" y="1450"/>
                    <a:pt x="3291" y="1458"/>
                    <a:pt x="3270" y="1471"/>
                  </a:cubicBezTo>
                  <a:cubicBezTo>
                    <a:pt x="3249" y="1483"/>
                    <a:pt x="3214" y="1481"/>
                    <a:pt x="3214" y="1458"/>
                  </a:cubicBezTo>
                  <a:cubicBezTo>
                    <a:pt x="3214" y="1446"/>
                    <a:pt x="3216" y="1439"/>
                    <a:pt x="3221" y="1434"/>
                  </a:cubicBezTo>
                  <a:cubicBezTo>
                    <a:pt x="3230" y="1430"/>
                    <a:pt x="3245" y="1427"/>
                    <a:pt x="3267" y="1417"/>
                  </a:cubicBezTo>
                  <a:cubicBezTo>
                    <a:pt x="3313" y="1396"/>
                    <a:pt x="3362" y="1338"/>
                    <a:pt x="3383" y="1363"/>
                  </a:cubicBezTo>
                  <a:cubicBezTo>
                    <a:pt x="3404" y="1388"/>
                    <a:pt x="3443" y="1417"/>
                    <a:pt x="3468" y="1421"/>
                  </a:cubicBezTo>
                  <a:cubicBezTo>
                    <a:pt x="3489" y="1424"/>
                    <a:pt x="3468" y="1462"/>
                    <a:pt x="3455" y="1475"/>
                  </a:cubicBezTo>
                  <a:close/>
                  <a:moveTo>
                    <a:pt x="4565" y="5400"/>
                  </a:moveTo>
                  <a:cubicBezTo>
                    <a:pt x="4565" y="5399"/>
                    <a:pt x="4566" y="5398"/>
                    <a:pt x="4566" y="5397"/>
                  </a:cubicBezTo>
                  <a:cubicBezTo>
                    <a:pt x="4567" y="5394"/>
                    <a:pt x="4568" y="5395"/>
                    <a:pt x="4569" y="5400"/>
                  </a:cubicBezTo>
                  <a:lnTo>
                    <a:pt x="4565" y="5400"/>
                  </a:ln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4" name="Freeform 8"/>
            <p:cNvSpPr>
              <a:spLocks/>
            </p:cNvSpPr>
            <p:nvPr/>
          </p:nvSpPr>
          <p:spPr bwMode="auto">
            <a:xfrm>
              <a:off x="1836738" y="2000250"/>
              <a:ext cx="92075" cy="60325"/>
            </a:xfrm>
            <a:custGeom>
              <a:avLst/>
              <a:gdLst>
                <a:gd name="T0" fmla="*/ 24 w 164"/>
                <a:gd name="T1" fmla="*/ 96 h 104"/>
                <a:gd name="T2" fmla="*/ 103 w 164"/>
                <a:gd name="T3" fmla="*/ 91 h 104"/>
                <a:gd name="T4" fmla="*/ 150 w 164"/>
                <a:gd name="T5" fmla="*/ 79 h 104"/>
                <a:gd name="T6" fmla="*/ 151 w 164"/>
                <a:gd name="T7" fmla="*/ 59 h 104"/>
                <a:gd name="T8" fmla="*/ 158 w 164"/>
                <a:gd name="T9" fmla="*/ 59 h 104"/>
                <a:gd name="T10" fmla="*/ 143 w 164"/>
                <a:gd name="T11" fmla="*/ 3 h 104"/>
                <a:gd name="T12" fmla="*/ 33 w 164"/>
                <a:gd name="T13" fmla="*/ 50 h 104"/>
                <a:gd name="T14" fmla="*/ 24 w 164"/>
                <a:gd name="T15" fmla="*/ 56 h 104"/>
                <a:gd name="T16" fmla="*/ 24 w 164"/>
                <a:gd name="T17" fmla="*/ 9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04">
                  <a:moveTo>
                    <a:pt x="24" y="96"/>
                  </a:moveTo>
                  <a:cubicBezTo>
                    <a:pt x="42" y="96"/>
                    <a:pt x="89" y="77"/>
                    <a:pt x="103" y="91"/>
                  </a:cubicBezTo>
                  <a:cubicBezTo>
                    <a:pt x="117" y="104"/>
                    <a:pt x="153" y="93"/>
                    <a:pt x="150" y="79"/>
                  </a:cubicBezTo>
                  <a:cubicBezTo>
                    <a:pt x="150" y="76"/>
                    <a:pt x="151" y="68"/>
                    <a:pt x="151" y="59"/>
                  </a:cubicBezTo>
                  <a:cubicBezTo>
                    <a:pt x="158" y="59"/>
                    <a:pt x="158" y="59"/>
                    <a:pt x="158" y="59"/>
                  </a:cubicBezTo>
                  <a:cubicBezTo>
                    <a:pt x="160" y="38"/>
                    <a:pt x="164" y="5"/>
                    <a:pt x="143" y="3"/>
                  </a:cubicBezTo>
                  <a:cubicBezTo>
                    <a:pt x="115" y="0"/>
                    <a:pt x="75" y="34"/>
                    <a:pt x="33" y="50"/>
                  </a:cubicBezTo>
                  <a:cubicBezTo>
                    <a:pt x="29" y="52"/>
                    <a:pt x="26" y="54"/>
                    <a:pt x="24" y="56"/>
                  </a:cubicBezTo>
                  <a:cubicBezTo>
                    <a:pt x="0" y="68"/>
                    <a:pt x="6" y="96"/>
                    <a:pt x="24" y="96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5" name="Freeform 9"/>
            <p:cNvSpPr>
              <a:spLocks/>
            </p:cNvSpPr>
            <p:nvPr/>
          </p:nvSpPr>
          <p:spPr bwMode="auto">
            <a:xfrm>
              <a:off x="2028825" y="1989138"/>
              <a:ext cx="146050" cy="65088"/>
            </a:xfrm>
            <a:custGeom>
              <a:avLst/>
              <a:gdLst>
                <a:gd name="T0" fmla="*/ 51 w 257"/>
                <a:gd name="T1" fmla="*/ 77 h 115"/>
                <a:gd name="T2" fmla="*/ 145 w 257"/>
                <a:gd name="T3" fmla="*/ 74 h 115"/>
                <a:gd name="T4" fmla="*/ 175 w 257"/>
                <a:gd name="T5" fmla="*/ 104 h 115"/>
                <a:gd name="T6" fmla="*/ 241 w 257"/>
                <a:gd name="T7" fmla="*/ 115 h 115"/>
                <a:gd name="T8" fmla="*/ 249 w 257"/>
                <a:gd name="T9" fmla="*/ 81 h 115"/>
                <a:gd name="T10" fmla="*/ 257 w 257"/>
                <a:gd name="T11" fmla="*/ 81 h 115"/>
                <a:gd name="T12" fmla="*/ 243 w 257"/>
                <a:gd name="T13" fmla="*/ 50 h 115"/>
                <a:gd name="T14" fmla="*/ 189 w 257"/>
                <a:gd name="T15" fmla="*/ 14 h 115"/>
                <a:gd name="T16" fmla="*/ 76 w 257"/>
                <a:gd name="T17" fmla="*/ 3 h 115"/>
                <a:gd name="T18" fmla="*/ 23 w 257"/>
                <a:gd name="T19" fmla="*/ 13 h 115"/>
                <a:gd name="T20" fmla="*/ 4 w 257"/>
                <a:gd name="T21" fmla="*/ 40 h 115"/>
                <a:gd name="T22" fmla="*/ 51 w 257"/>
                <a:gd name="T23" fmla="*/ 77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7" h="115">
                  <a:moveTo>
                    <a:pt x="51" y="77"/>
                  </a:moveTo>
                  <a:cubicBezTo>
                    <a:pt x="79" y="77"/>
                    <a:pt x="140" y="60"/>
                    <a:pt x="145" y="74"/>
                  </a:cubicBezTo>
                  <a:cubicBezTo>
                    <a:pt x="149" y="88"/>
                    <a:pt x="142" y="99"/>
                    <a:pt x="175" y="104"/>
                  </a:cubicBezTo>
                  <a:cubicBezTo>
                    <a:pt x="208" y="110"/>
                    <a:pt x="222" y="115"/>
                    <a:pt x="241" y="115"/>
                  </a:cubicBezTo>
                  <a:cubicBezTo>
                    <a:pt x="253" y="115"/>
                    <a:pt x="254" y="99"/>
                    <a:pt x="249" y="81"/>
                  </a:cubicBezTo>
                  <a:cubicBezTo>
                    <a:pt x="257" y="81"/>
                    <a:pt x="257" y="81"/>
                    <a:pt x="257" y="81"/>
                  </a:cubicBezTo>
                  <a:cubicBezTo>
                    <a:pt x="254" y="71"/>
                    <a:pt x="249" y="60"/>
                    <a:pt x="243" y="50"/>
                  </a:cubicBezTo>
                  <a:cubicBezTo>
                    <a:pt x="226" y="25"/>
                    <a:pt x="231" y="28"/>
                    <a:pt x="189" y="14"/>
                  </a:cubicBezTo>
                  <a:cubicBezTo>
                    <a:pt x="147" y="0"/>
                    <a:pt x="104" y="0"/>
                    <a:pt x="76" y="3"/>
                  </a:cubicBezTo>
                  <a:cubicBezTo>
                    <a:pt x="56" y="5"/>
                    <a:pt x="36" y="2"/>
                    <a:pt x="23" y="13"/>
                  </a:cubicBezTo>
                  <a:cubicBezTo>
                    <a:pt x="14" y="17"/>
                    <a:pt x="7" y="25"/>
                    <a:pt x="4" y="40"/>
                  </a:cubicBezTo>
                  <a:cubicBezTo>
                    <a:pt x="0" y="60"/>
                    <a:pt x="23" y="77"/>
                    <a:pt x="51" y="77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" name="Freeform 10"/>
            <p:cNvSpPr>
              <a:spLocks/>
            </p:cNvSpPr>
            <p:nvPr/>
          </p:nvSpPr>
          <p:spPr bwMode="auto">
            <a:xfrm>
              <a:off x="2255838" y="2144713"/>
              <a:ext cx="103187" cy="49213"/>
            </a:xfrm>
            <a:custGeom>
              <a:avLst/>
              <a:gdLst>
                <a:gd name="T0" fmla="*/ 55 w 183"/>
                <a:gd name="T1" fmla="*/ 83 h 88"/>
                <a:gd name="T2" fmla="*/ 152 w 183"/>
                <a:gd name="T3" fmla="*/ 69 h 88"/>
                <a:gd name="T4" fmla="*/ 162 w 183"/>
                <a:gd name="T5" fmla="*/ 63 h 88"/>
                <a:gd name="T6" fmla="*/ 161 w 183"/>
                <a:gd name="T7" fmla="*/ 17 h 88"/>
                <a:gd name="T8" fmla="*/ 120 w 183"/>
                <a:gd name="T9" fmla="*/ 0 h 88"/>
                <a:gd name="T10" fmla="*/ 94 w 183"/>
                <a:gd name="T11" fmla="*/ 0 h 88"/>
                <a:gd name="T12" fmla="*/ 38 w 183"/>
                <a:gd name="T13" fmla="*/ 29 h 88"/>
                <a:gd name="T14" fmla="*/ 4 w 183"/>
                <a:gd name="T15" fmla="*/ 66 h 88"/>
                <a:gd name="T16" fmla="*/ 55 w 183"/>
                <a:gd name="T17" fmla="*/ 8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3" h="88">
                  <a:moveTo>
                    <a:pt x="55" y="83"/>
                  </a:moveTo>
                  <a:cubicBezTo>
                    <a:pt x="86" y="77"/>
                    <a:pt x="131" y="71"/>
                    <a:pt x="152" y="69"/>
                  </a:cubicBezTo>
                  <a:cubicBezTo>
                    <a:pt x="156" y="68"/>
                    <a:pt x="159" y="66"/>
                    <a:pt x="162" y="63"/>
                  </a:cubicBezTo>
                  <a:cubicBezTo>
                    <a:pt x="180" y="57"/>
                    <a:pt x="183" y="20"/>
                    <a:pt x="161" y="17"/>
                  </a:cubicBezTo>
                  <a:cubicBezTo>
                    <a:pt x="146" y="16"/>
                    <a:pt x="133" y="5"/>
                    <a:pt x="120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81" y="5"/>
                    <a:pt x="57" y="17"/>
                    <a:pt x="38" y="29"/>
                  </a:cubicBezTo>
                  <a:cubicBezTo>
                    <a:pt x="17" y="42"/>
                    <a:pt x="0" y="56"/>
                    <a:pt x="4" y="66"/>
                  </a:cubicBezTo>
                  <a:cubicBezTo>
                    <a:pt x="7" y="74"/>
                    <a:pt x="25" y="88"/>
                    <a:pt x="55" y="83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7" name="Freeform 11"/>
            <p:cNvSpPr>
              <a:spLocks/>
            </p:cNvSpPr>
            <p:nvPr/>
          </p:nvSpPr>
          <p:spPr bwMode="auto">
            <a:xfrm>
              <a:off x="2211388" y="2014538"/>
              <a:ext cx="414337" cy="127000"/>
            </a:xfrm>
            <a:custGeom>
              <a:avLst/>
              <a:gdLst>
                <a:gd name="T0" fmla="*/ 26 w 731"/>
                <a:gd name="T1" fmla="*/ 61 h 222"/>
                <a:gd name="T2" fmla="*/ 124 w 731"/>
                <a:gd name="T3" fmla="*/ 114 h 222"/>
                <a:gd name="T4" fmla="*/ 232 w 731"/>
                <a:gd name="T5" fmla="*/ 158 h 222"/>
                <a:gd name="T6" fmla="*/ 314 w 731"/>
                <a:gd name="T7" fmla="*/ 208 h 222"/>
                <a:gd name="T8" fmla="*/ 389 w 731"/>
                <a:gd name="T9" fmla="*/ 216 h 222"/>
                <a:gd name="T10" fmla="*/ 495 w 731"/>
                <a:gd name="T11" fmla="*/ 208 h 222"/>
                <a:gd name="T12" fmla="*/ 673 w 731"/>
                <a:gd name="T13" fmla="*/ 219 h 222"/>
                <a:gd name="T14" fmla="*/ 730 w 731"/>
                <a:gd name="T15" fmla="*/ 189 h 222"/>
                <a:gd name="T16" fmla="*/ 703 w 731"/>
                <a:gd name="T17" fmla="*/ 173 h 222"/>
                <a:gd name="T18" fmla="*/ 720 w 731"/>
                <a:gd name="T19" fmla="*/ 173 h 222"/>
                <a:gd name="T20" fmla="*/ 633 w 731"/>
                <a:gd name="T21" fmla="*/ 154 h 222"/>
                <a:gd name="T22" fmla="*/ 457 w 731"/>
                <a:gd name="T23" fmla="*/ 154 h 222"/>
                <a:gd name="T24" fmla="*/ 349 w 731"/>
                <a:gd name="T25" fmla="*/ 154 h 222"/>
                <a:gd name="T26" fmla="*/ 278 w 731"/>
                <a:gd name="T27" fmla="*/ 118 h 222"/>
                <a:gd name="T28" fmla="*/ 243 w 731"/>
                <a:gd name="T29" fmla="*/ 90 h 222"/>
                <a:gd name="T30" fmla="*/ 231 w 731"/>
                <a:gd name="T31" fmla="*/ 90 h 222"/>
                <a:gd name="T32" fmla="*/ 176 w 731"/>
                <a:gd name="T33" fmla="*/ 58 h 222"/>
                <a:gd name="T34" fmla="*/ 94 w 731"/>
                <a:gd name="T35" fmla="*/ 36 h 222"/>
                <a:gd name="T36" fmla="*/ 91 w 731"/>
                <a:gd name="T37" fmla="*/ 35 h 222"/>
                <a:gd name="T38" fmla="*/ 113 w 731"/>
                <a:gd name="T39" fmla="*/ 35 h 222"/>
                <a:gd name="T40" fmla="*/ 100 w 731"/>
                <a:gd name="T41" fmla="*/ 32 h 222"/>
                <a:gd name="T42" fmla="*/ 20 w 731"/>
                <a:gd name="T43" fmla="*/ 4 h 222"/>
                <a:gd name="T44" fmla="*/ 18 w 731"/>
                <a:gd name="T45" fmla="*/ 13 h 222"/>
                <a:gd name="T46" fmla="*/ 14 w 731"/>
                <a:gd name="T47" fmla="*/ 8 h 222"/>
                <a:gd name="T48" fmla="*/ 26 w 731"/>
                <a:gd name="T49" fmla="*/ 61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31" h="222">
                  <a:moveTo>
                    <a:pt x="26" y="61"/>
                  </a:moveTo>
                  <a:cubicBezTo>
                    <a:pt x="51" y="75"/>
                    <a:pt x="94" y="100"/>
                    <a:pt x="124" y="114"/>
                  </a:cubicBezTo>
                  <a:cubicBezTo>
                    <a:pt x="155" y="128"/>
                    <a:pt x="213" y="130"/>
                    <a:pt x="232" y="158"/>
                  </a:cubicBezTo>
                  <a:cubicBezTo>
                    <a:pt x="251" y="186"/>
                    <a:pt x="314" y="208"/>
                    <a:pt x="314" y="208"/>
                  </a:cubicBezTo>
                  <a:cubicBezTo>
                    <a:pt x="389" y="216"/>
                    <a:pt x="389" y="216"/>
                    <a:pt x="389" y="216"/>
                  </a:cubicBezTo>
                  <a:cubicBezTo>
                    <a:pt x="389" y="216"/>
                    <a:pt x="441" y="202"/>
                    <a:pt x="495" y="208"/>
                  </a:cubicBezTo>
                  <a:cubicBezTo>
                    <a:pt x="549" y="214"/>
                    <a:pt x="629" y="222"/>
                    <a:pt x="673" y="219"/>
                  </a:cubicBezTo>
                  <a:cubicBezTo>
                    <a:pt x="718" y="216"/>
                    <a:pt x="725" y="200"/>
                    <a:pt x="730" y="189"/>
                  </a:cubicBezTo>
                  <a:cubicBezTo>
                    <a:pt x="731" y="184"/>
                    <a:pt x="719" y="178"/>
                    <a:pt x="703" y="173"/>
                  </a:cubicBezTo>
                  <a:cubicBezTo>
                    <a:pt x="720" y="173"/>
                    <a:pt x="720" y="173"/>
                    <a:pt x="720" y="173"/>
                  </a:cubicBezTo>
                  <a:cubicBezTo>
                    <a:pt x="695" y="162"/>
                    <a:pt x="648" y="152"/>
                    <a:pt x="633" y="154"/>
                  </a:cubicBezTo>
                  <a:cubicBezTo>
                    <a:pt x="612" y="157"/>
                    <a:pt x="492" y="157"/>
                    <a:pt x="457" y="154"/>
                  </a:cubicBezTo>
                  <a:cubicBezTo>
                    <a:pt x="422" y="151"/>
                    <a:pt x="377" y="151"/>
                    <a:pt x="349" y="154"/>
                  </a:cubicBezTo>
                  <a:cubicBezTo>
                    <a:pt x="321" y="157"/>
                    <a:pt x="300" y="132"/>
                    <a:pt x="278" y="118"/>
                  </a:cubicBezTo>
                  <a:cubicBezTo>
                    <a:pt x="270" y="112"/>
                    <a:pt x="257" y="101"/>
                    <a:pt x="243" y="90"/>
                  </a:cubicBezTo>
                  <a:cubicBezTo>
                    <a:pt x="231" y="90"/>
                    <a:pt x="231" y="90"/>
                    <a:pt x="231" y="90"/>
                  </a:cubicBezTo>
                  <a:cubicBezTo>
                    <a:pt x="212" y="76"/>
                    <a:pt x="191" y="61"/>
                    <a:pt x="176" y="58"/>
                  </a:cubicBezTo>
                  <a:cubicBezTo>
                    <a:pt x="148" y="53"/>
                    <a:pt x="152" y="53"/>
                    <a:pt x="94" y="36"/>
                  </a:cubicBezTo>
                  <a:cubicBezTo>
                    <a:pt x="93" y="36"/>
                    <a:pt x="92" y="36"/>
                    <a:pt x="91" y="35"/>
                  </a:cubicBezTo>
                  <a:cubicBezTo>
                    <a:pt x="113" y="35"/>
                    <a:pt x="113" y="35"/>
                    <a:pt x="113" y="35"/>
                  </a:cubicBezTo>
                  <a:cubicBezTo>
                    <a:pt x="109" y="34"/>
                    <a:pt x="105" y="33"/>
                    <a:pt x="100" y="32"/>
                  </a:cubicBezTo>
                  <a:cubicBezTo>
                    <a:pt x="70" y="23"/>
                    <a:pt x="20" y="12"/>
                    <a:pt x="20" y="4"/>
                  </a:cubicBezTo>
                  <a:cubicBezTo>
                    <a:pt x="20" y="1"/>
                    <a:pt x="19" y="5"/>
                    <a:pt x="18" y="13"/>
                  </a:cubicBezTo>
                  <a:cubicBezTo>
                    <a:pt x="15" y="11"/>
                    <a:pt x="14" y="10"/>
                    <a:pt x="14" y="8"/>
                  </a:cubicBezTo>
                  <a:cubicBezTo>
                    <a:pt x="14" y="0"/>
                    <a:pt x="0" y="47"/>
                    <a:pt x="26" y="61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8" name="Freeform 12"/>
            <p:cNvSpPr>
              <a:spLocks/>
            </p:cNvSpPr>
            <p:nvPr/>
          </p:nvSpPr>
          <p:spPr bwMode="auto">
            <a:xfrm>
              <a:off x="3921125" y="2354263"/>
              <a:ext cx="242887" cy="107950"/>
            </a:xfrm>
            <a:custGeom>
              <a:avLst/>
              <a:gdLst>
                <a:gd name="T0" fmla="*/ 373 w 427"/>
                <a:gd name="T1" fmla="*/ 112 h 189"/>
                <a:gd name="T2" fmla="*/ 375 w 427"/>
                <a:gd name="T3" fmla="*/ 112 h 189"/>
                <a:gd name="T4" fmla="*/ 408 w 427"/>
                <a:gd name="T5" fmla="*/ 46 h 189"/>
                <a:gd name="T6" fmla="*/ 402 w 427"/>
                <a:gd name="T7" fmla="*/ 40 h 189"/>
                <a:gd name="T8" fmla="*/ 389 w 427"/>
                <a:gd name="T9" fmla="*/ 40 h 189"/>
                <a:gd name="T10" fmla="*/ 317 w 427"/>
                <a:gd name="T11" fmla="*/ 14 h 189"/>
                <a:gd name="T12" fmla="*/ 228 w 427"/>
                <a:gd name="T13" fmla="*/ 33 h 189"/>
                <a:gd name="T14" fmla="*/ 176 w 427"/>
                <a:gd name="T15" fmla="*/ 40 h 189"/>
                <a:gd name="T16" fmla="*/ 141 w 427"/>
                <a:gd name="T17" fmla="*/ 40 h 189"/>
                <a:gd name="T18" fmla="*/ 132 w 427"/>
                <a:gd name="T19" fmla="*/ 33 h 189"/>
                <a:gd name="T20" fmla="*/ 28 w 427"/>
                <a:gd name="T21" fmla="*/ 14 h 189"/>
                <a:gd name="T22" fmla="*/ 19 w 427"/>
                <a:gd name="T23" fmla="*/ 72 h 189"/>
                <a:gd name="T24" fmla="*/ 68 w 427"/>
                <a:gd name="T25" fmla="*/ 130 h 189"/>
                <a:gd name="T26" fmla="*/ 148 w 427"/>
                <a:gd name="T27" fmla="*/ 147 h 189"/>
                <a:gd name="T28" fmla="*/ 214 w 427"/>
                <a:gd name="T29" fmla="*/ 175 h 189"/>
                <a:gd name="T30" fmla="*/ 296 w 427"/>
                <a:gd name="T31" fmla="*/ 136 h 189"/>
                <a:gd name="T32" fmla="*/ 369 w 427"/>
                <a:gd name="T33" fmla="*/ 117 h 189"/>
                <a:gd name="T34" fmla="*/ 373 w 427"/>
                <a:gd name="T35" fmla="*/ 11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27" h="189">
                  <a:moveTo>
                    <a:pt x="373" y="112"/>
                  </a:moveTo>
                  <a:cubicBezTo>
                    <a:pt x="374" y="112"/>
                    <a:pt x="375" y="112"/>
                    <a:pt x="375" y="112"/>
                  </a:cubicBezTo>
                  <a:cubicBezTo>
                    <a:pt x="375" y="112"/>
                    <a:pt x="427" y="65"/>
                    <a:pt x="408" y="46"/>
                  </a:cubicBezTo>
                  <a:cubicBezTo>
                    <a:pt x="406" y="44"/>
                    <a:pt x="404" y="42"/>
                    <a:pt x="402" y="40"/>
                  </a:cubicBezTo>
                  <a:cubicBezTo>
                    <a:pt x="389" y="40"/>
                    <a:pt x="389" y="40"/>
                    <a:pt x="389" y="40"/>
                  </a:cubicBezTo>
                  <a:cubicBezTo>
                    <a:pt x="368" y="26"/>
                    <a:pt x="335" y="16"/>
                    <a:pt x="317" y="14"/>
                  </a:cubicBezTo>
                  <a:cubicBezTo>
                    <a:pt x="296" y="11"/>
                    <a:pt x="275" y="33"/>
                    <a:pt x="228" y="33"/>
                  </a:cubicBezTo>
                  <a:cubicBezTo>
                    <a:pt x="208" y="33"/>
                    <a:pt x="190" y="37"/>
                    <a:pt x="176" y="40"/>
                  </a:cubicBezTo>
                  <a:cubicBezTo>
                    <a:pt x="141" y="40"/>
                    <a:pt x="141" y="40"/>
                    <a:pt x="141" y="40"/>
                  </a:cubicBezTo>
                  <a:cubicBezTo>
                    <a:pt x="138" y="39"/>
                    <a:pt x="134" y="37"/>
                    <a:pt x="132" y="33"/>
                  </a:cubicBezTo>
                  <a:cubicBezTo>
                    <a:pt x="113" y="11"/>
                    <a:pt x="35" y="0"/>
                    <a:pt x="28" y="14"/>
                  </a:cubicBezTo>
                  <a:cubicBezTo>
                    <a:pt x="19" y="32"/>
                    <a:pt x="0" y="33"/>
                    <a:pt x="19" y="72"/>
                  </a:cubicBezTo>
                  <a:cubicBezTo>
                    <a:pt x="38" y="111"/>
                    <a:pt x="52" y="133"/>
                    <a:pt x="68" y="130"/>
                  </a:cubicBezTo>
                  <a:cubicBezTo>
                    <a:pt x="85" y="128"/>
                    <a:pt x="141" y="125"/>
                    <a:pt x="148" y="147"/>
                  </a:cubicBezTo>
                  <a:cubicBezTo>
                    <a:pt x="155" y="169"/>
                    <a:pt x="174" y="189"/>
                    <a:pt x="214" y="175"/>
                  </a:cubicBezTo>
                  <a:cubicBezTo>
                    <a:pt x="254" y="161"/>
                    <a:pt x="287" y="153"/>
                    <a:pt x="296" y="136"/>
                  </a:cubicBezTo>
                  <a:cubicBezTo>
                    <a:pt x="305" y="119"/>
                    <a:pt x="369" y="117"/>
                    <a:pt x="369" y="117"/>
                  </a:cubicBezTo>
                  <a:cubicBezTo>
                    <a:pt x="369" y="117"/>
                    <a:pt x="371" y="115"/>
                    <a:pt x="373" y="112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9" name="Freeform 13"/>
            <p:cNvSpPr>
              <a:spLocks/>
            </p:cNvSpPr>
            <p:nvPr/>
          </p:nvSpPr>
          <p:spPr bwMode="auto">
            <a:xfrm>
              <a:off x="2525713" y="3562350"/>
              <a:ext cx="220662" cy="93663"/>
            </a:xfrm>
            <a:custGeom>
              <a:avLst/>
              <a:gdLst>
                <a:gd name="T0" fmla="*/ 377 w 388"/>
                <a:gd name="T1" fmla="*/ 153 h 166"/>
                <a:gd name="T2" fmla="*/ 386 w 388"/>
                <a:gd name="T3" fmla="*/ 146 h 166"/>
                <a:gd name="T4" fmla="*/ 368 w 388"/>
                <a:gd name="T5" fmla="*/ 112 h 166"/>
                <a:gd name="T6" fmla="*/ 358 w 388"/>
                <a:gd name="T7" fmla="*/ 112 h 166"/>
                <a:gd name="T8" fmla="*/ 316 w 388"/>
                <a:gd name="T9" fmla="*/ 92 h 166"/>
                <a:gd name="T10" fmla="*/ 238 w 388"/>
                <a:gd name="T11" fmla="*/ 57 h 166"/>
                <a:gd name="T12" fmla="*/ 251 w 388"/>
                <a:gd name="T13" fmla="*/ 57 h 166"/>
                <a:gd name="T14" fmla="*/ 217 w 388"/>
                <a:gd name="T15" fmla="*/ 29 h 166"/>
                <a:gd name="T16" fmla="*/ 115 w 388"/>
                <a:gd name="T17" fmla="*/ 0 h 166"/>
                <a:gd name="T18" fmla="*/ 10 w 388"/>
                <a:gd name="T19" fmla="*/ 29 h 166"/>
                <a:gd name="T20" fmla="*/ 10 w 388"/>
                <a:gd name="T21" fmla="*/ 31 h 166"/>
                <a:gd name="T22" fmla="*/ 3 w 388"/>
                <a:gd name="T23" fmla="*/ 33 h 166"/>
                <a:gd name="T24" fmla="*/ 77 w 388"/>
                <a:gd name="T25" fmla="*/ 63 h 166"/>
                <a:gd name="T26" fmla="*/ 207 w 388"/>
                <a:gd name="T27" fmla="*/ 75 h 166"/>
                <a:gd name="T28" fmla="*/ 302 w 388"/>
                <a:gd name="T29" fmla="*/ 146 h 166"/>
                <a:gd name="T30" fmla="*/ 377 w 388"/>
                <a:gd name="T31" fmla="*/ 153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8" h="166">
                  <a:moveTo>
                    <a:pt x="377" y="153"/>
                  </a:moveTo>
                  <a:cubicBezTo>
                    <a:pt x="382" y="152"/>
                    <a:pt x="386" y="149"/>
                    <a:pt x="386" y="146"/>
                  </a:cubicBezTo>
                  <a:cubicBezTo>
                    <a:pt x="388" y="138"/>
                    <a:pt x="380" y="124"/>
                    <a:pt x="368" y="112"/>
                  </a:cubicBezTo>
                  <a:cubicBezTo>
                    <a:pt x="358" y="112"/>
                    <a:pt x="358" y="112"/>
                    <a:pt x="358" y="112"/>
                  </a:cubicBezTo>
                  <a:cubicBezTo>
                    <a:pt x="344" y="100"/>
                    <a:pt x="328" y="90"/>
                    <a:pt x="316" y="92"/>
                  </a:cubicBezTo>
                  <a:cubicBezTo>
                    <a:pt x="298" y="95"/>
                    <a:pt x="265" y="78"/>
                    <a:pt x="238" y="57"/>
                  </a:cubicBezTo>
                  <a:cubicBezTo>
                    <a:pt x="251" y="57"/>
                    <a:pt x="251" y="57"/>
                    <a:pt x="251" y="57"/>
                  </a:cubicBezTo>
                  <a:cubicBezTo>
                    <a:pt x="238" y="48"/>
                    <a:pt x="226" y="39"/>
                    <a:pt x="217" y="29"/>
                  </a:cubicBezTo>
                  <a:cubicBezTo>
                    <a:pt x="189" y="0"/>
                    <a:pt x="136" y="0"/>
                    <a:pt x="115" y="0"/>
                  </a:cubicBezTo>
                  <a:cubicBezTo>
                    <a:pt x="94" y="0"/>
                    <a:pt x="10" y="29"/>
                    <a:pt x="10" y="29"/>
                  </a:cubicBezTo>
                  <a:cubicBezTo>
                    <a:pt x="10" y="30"/>
                    <a:pt x="10" y="31"/>
                    <a:pt x="10" y="31"/>
                  </a:cubicBezTo>
                  <a:cubicBezTo>
                    <a:pt x="6" y="33"/>
                    <a:pt x="3" y="33"/>
                    <a:pt x="3" y="33"/>
                  </a:cubicBezTo>
                  <a:cubicBezTo>
                    <a:pt x="0" y="75"/>
                    <a:pt x="35" y="63"/>
                    <a:pt x="77" y="63"/>
                  </a:cubicBezTo>
                  <a:cubicBezTo>
                    <a:pt x="119" y="63"/>
                    <a:pt x="193" y="54"/>
                    <a:pt x="207" y="75"/>
                  </a:cubicBezTo>
                  <a:cubicBezTo>
                    <a:pt x="221" y="96"/>
                    <a:pt x="285" y="129"/>
                    <a:pt x="302" y="146"/>
                  </a:cubicBezTo>
                  <a:cubicBezTo>
                    <a:pt x="319" y="161"/>
                    <a:pt x="367" y="166"/>
                    <a:pt x="377" y="153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0" name="Freeform 14"/>
            <p:cNvSpPr>
              <a:spLocks/>
            </p:cNvSpPr>
            <p:nvPr/>
          </p:nvSpPr>
          <p:spPr bwMode="auto">
            <a:xfrm>
              <a:off x="2928938" y="3683000"/>
              <a:ext cx="42862" cy="47625"/>
            </a:xfrm>
            <a:custGeom>
              <a:avLst/>
              <a:gdLst>
                <a:gd name="T0" fmla="*/ 58 w 74"/>
                <a:gd name="T1" fmla="*/ 64 h 85"/>
                <a:gd name="T2" fmla="*/ 74 w 74"/>
                <a:gd name="T3" fmla="*/ 37 h 85"/>
                <a:gd name="T4" fmla="*/ 67 w 74"/>
                <a:gd name="T5" fmla="*/ 37 h 85"/>
                <a:gd name="T6" fmla="*/ 32 w 74"/>
                <a:gd name="T7" fmla="*/ 4 h 85"/>
                <a:gd name="T8" fmla="*/ 47 w 74"/>
                <a:gd name="T9" fmla="*/ 71 h 85"/>
                <a:gd name="T10" fmla="*/ 58 w 74"/>
                <a:gd name="T11" fmla="*/ 6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85">
                  <a:moveTo>
                    <a:pt x="58" y="64"/>
                  </a:moveTo>
                  <a:cubicBezTo>
                    <a:pt x="69" y="58"/>
                    <a:pt x="74" y="48"/>
                    <a:pt x="74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5" y="18"/>
                    <a:pt x="51" y="0"/>
                    <a:pt x="32" y="4"/>
                  </a:cubicBezTo>
                  <a:cubicBezTo>
                    <a:pt x="0" y="11"/>
                    <a:pt x="8" y="85"/>
                    <a:pt x="47" y="71"/>
                  </a:cubicBezTo>
                  <a:cubicBezTo>
                    <a:pt x="51" y="70"/>
                    <a:pt x="55" y="67"/>
                    <a:pt x="58" y="64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Freeform 15"/>
            <p:cNvSpPr>
              <a:spLocks/>
            </p:cNvSpPr>
            <p:nvPr/>
          </p:nvSpPr>
          <p:spPr bwMode="auto">
            <a:xfrm>
              <a:off x="6378575" y="3933825"/>
              <a:ext cx="61912" cy="144463"/>
            </a:xfrm>
            <a:custGeom>
              <a:avLst/>
              <a:gdLst>
                <a:gd name="T0" fmla="*/ 99 w 108"/>
                <a:gd name="T1" fmla="*/ 102 h 253"/>
                <a:gd name="T2" fmla="*/ 93 w 108"/>
                <a:gd name="T3" fmla="*/ 88 h 253"/>
                <a:gd name="T4" fmla="*/ 101 w 108"/>
                <a:gd name="T5" fmla="*/ 88 h 253"/>
                <a:gd name="T6" fmla="*/ 53 w 108"/>
                <a:gd name="T7" fmla="*/ 15 h 253"/>
                <a:gd name="T8" fmla="*/ 49 w 108"/>
                <a:gd name="T9" fmla="*/ 19 h 253"/>
                <a:gd name="T10" fmla="*/ 47 w 108"/>
                <a:gd name="T11" fmla="*/ 19 h 253"/>
                <a:gd name="T12" fmla="*/ 43 w 108"/>
                <a:gd name="T13" fmla="*/ 248 h 253"/>
                <a:gd name="T14" fmla="*/ 77 w 108"/>
                <a:gd name="T15" fmla="*/ 225 h 253"/>
                <a:gd name="T16" fmla="*/ 81 w 108"/>
                <a:gd name="T17" fmla="*/ 225 h 253"/>
                <a:gd name="T18" fmla="*/ 108 w 108"/>
                <a:gd name="T19" fmla="*/ 143 h 253"/>
                <a:gd name="T20" fmla="*/ 102 w 108"/>
                <a:gd name="T21" fmla="*/ 143 h 253"/>
                <a:gd name="T22" fmla="*/ 99 w 108"/>
                <a:gd name="T23" fmla="*/ 102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" h="253">
                  <a:moveTo>
                    <a:pt x="99" y="102"/>
                  </a:moveTo>
                  <a:cubicBezTo>
                    <a:pt x="97" y="99"/>
                    <a:pt x="95" y="94"/>
                    <a:pt x="93" y="88"/>
                  </a:cubicBezTo>
                  <a:cubicBezTo>
                    <a:pt x="101" y="88"/>
                    <a:pt x="101" y="88"/>
                    <a:pt x="101" y="88"/>
                  </a:cubicBezTo>
                  <a:cubicBezTo>
                    <a:pt x="90" y="60"/>
                    <a:pt x="81" y="0"/>
                    <a:pt x="53" y="15"/>
                  </a:cubicBezTo>
                  <a:cubicBezTo>
                    <a:pt x="52" y="15"/>
                    <a:pt x="51" y="17"/>
                    <a:pt x="49" y="19"/>
                  </a:cubicBezTo>
                  <a:cubicBezTo>
                    <a:pt x="48" y="19"/>
                    <a:pt x="48" y="19"/>
                    <a:pt x="47" y="19"/>
                  </a:cubicBezTo>
                  <a:cubicBezTo>
                    <a:pt x="24" y="31"/>
                    <a:pt x="0" y="231"/>
                    <a:pt x="43" y="248"/>
                  </a:cubicBezTo>
                  <a:cubicBezTo>
                    <a:pt x="56" y="253"/>
                    <a:pt x="68" y="243"/>
                    <a:pt x="77" y="225"/>
                  </a:cubicBezTo>
                  <a:cubicBezTo>
                    <a:pt x="81" y="225"/>
                    <a:pt x="81" y="225"/>
                    <a:pt x="81" y="225"/>
                  </a:cubicBezTo>
                  <a:cubicBezTo>
                    <a:pt x="94" y="205"/>
                    <a:pt x="104" y="171"/>
                    <a:pt x="108" y="143"/>
                  </a:cubicBezTo>
                  <a:cubicBezTo>
                    <a:pt x="102" y="143"/>
                    <a:pt x="102" y="143"/>
                    <a:pt x="102" y="143"/>
                  </a:cubicBezTo>
                  <a:cubicBezTo>
                    <a:pt x="104" y="124"/>
                    <a:pt x="103" y="108"/>
                    <a:pt x="99" y="102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2" name="Freeform 16"/>
            <p:cNvSpPr>
              <a:spLocks/>
            </p:cNvSpPr>
            <p:nvPr/>
          </p:nvSpPr>
          <p:spPr bwMode="auto">
            <a:xfrm>
              <a:off x="4694238" y="3063875"/>
              <a:ext cx="53975" cy="57150"/>
            </a:xfrm>
            <a:custGeom>
              <a:avLst/>
              <a:gdLst>
                <a:gd name="T0" fmla="*/ 66 w 95"/>
                <a:gd name="T1" fmla="*/ 89 h 100"/>
                <a:gd name="T2" fmla="*/ 88 w 95"/>
                <a:gd name="T3" fmla="*/ 66 h 100"/>
                <a:gd name="T4" fmla="*/ 89 w 95"/>
                <a:gd name="T5" fmla="*/ 28 h 100"/>
                <a:gd name="T6" fmla="*/ 80 w 95"/>
                <a:gd name="T7" fmla="*/ 28 h 100"/>
                <a:gd name="T8" fmla="*/ 49 w 95"/>
                <a:gd name="T9" fmla="*/ 0 h 100"/>
                <a:gd name="T10" fmla="*/ 21 w 95"/>
                <a:gd name="T11" fmla="*/ 83 h 100"/>
                <a:gd name="T12" fmla="*/ 66 w 95"/>
                <a:gd name="T13" fmla="*/ 89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" h="100">
                  <a:moveTo>
                    <a:pt x="66" y="89"/>
                  </a:moveTo>
                  <a:cubicBezTo>
                    <a:pt x="73" y="85"/>
                    <a:pt x="81" y="77"/>
                    <a:pt x="88" y="66"/>
                  </a:cubicBezTo>
                  <a:cubicBezTo>
                    <a:pt x="95" y="54"/>
                    <a:pt x="94" y="41"/>
                    <a:pt x="89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73" y="12"/>
                    <a:pt x="59" y="0"/>
                    <a:pt x="49" y="0"/>
                  </a:cubicBezTo>
                  <a:cubicBezTo>
                    <a:pt x="16" y="0"/>
                    <a:pt x="0" y="62"/>
                    <a:pt x="21" y="83"/>
                  </a:cubicBezTo>
                  <a:cubicBezTo>
                    <a:pt x="36" y="98"/>
                    <a:pt x="52" y="100"/>
                    <a:pt x="66" y="89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3" name="Freeform 17"/>
            <p:cNvSpPr>
              <a:spLocks/>
            </p:cNvSpPr>
            <p:nvPr/>
          </p:nvSpPr>
          <p:spPr bwMode="auto">
            <a:xfrm>
              <a:off x="4565650" y="3079750"/>
              <a:ext cx="30162" cy="33338"/>
            </a:xfrm>
            <a:custGeom>
              <a:avLst/>
              <a:gdLst>
                <a:gd name="T0" fmla="*/ 40 w 55"/>
                <a:gd name="T1" fmla="*/ 46 h 57"/>
                <a:gd name="T2" fmla="*/ 49 w 55"/>
                <a:gd name="T3" fmla="*/ 37 h 57"/>
                <a:gd name="T4" fmla="*/ 28 w 55"/>
                <a:gd name="T5" fmla="*/ 15 h 57"/>
                <a:gd name="T6" fmla="*/ 8 w 55"/>
                <a:gd name="T7" fmla="*/ 37 h 57"/>
                <a:gd name="T8" fmla="*/ 40 w 55"/>
                <a:gd name="T9" fmla="*/ 4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57">
                  <a:moveTo>
                    <a:pt x="40" y="46"/>
                  </a:moveTo>
                  <a:cubicBezTo>
                    <a:pt x="44" y="44"/>
                    <a:pt x="48" y="41"/>
                    <a:pt x="49" y="37"/>
                  </a:cubicBezTo>
                  <a:cubicBezTo>
                    <a:pt x="55" y="24"/>
                    <a:pt x="45" y="0"/>
                    <a:pt x="28" y="15"/>
                  </a:cubicBezTo>
                  <a:cubicBezTo>
                    <a:pt x="22" y="17"/>
                    <a:pt x="15" y="23"/>
                    <a:pt x="8" y="37"/>
                  </a:cubicBezTo>
                  <a:cubicBezTo>
                    <a:pt x="0" y="51"/>
                    <a:pt x="29" y="57"/>
                    <a:pt x="40" y="46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4" name="Freeform 18"/>
            <p:cNvSpPr>
              <a:spLocks/>
            </p:cNvSpPr>
            <p:nvPr/>
          </p:nvSpPr>
          <p:spPr bwMode="auto">
            <a:xfrm>
              <a:off x="4800600" y="3133725"/>
              <a:ext cx="88900" cy="55563"/>
            </a:xfrm>
            <a:custGeom>
              <a:avLst/>
              <a:gdLst>
                <a:gd name="T0" fmla="*/ 97 w 157"/>
                <a:gd name="T1" fmla="*/ 96 h 98"/>
                <a:gd name="T2" fmla="*/ 136 w 157"/>
                <a:gd name="T3" fmla="*/ 88 h 98"/>
                <a:gd name="T4" fmla="*/ 150 w 157"/>
                <a:gd name="T5" fmla="*/ 50 h 98"/>
                <a:gd name="T6" fmla="*/ 146 w 157"/>
                <a:gd name="T7" fmla="*/ 42 h 98"/>
                <a:gd name="T8" fmla="*/ 137 w 157"/>
                <a:gd name="T9" fmla="*/ 42 h 98"/>
                <a:gd name="T10" fmla="*/ 87 w 157"/>
                <a:gd name="T11" fmla="*/ 13 h 98"/>
                <a:gd name="T12" fmla="*/ 13 w 157"/>
                <a:gd name="T13" fmla="*/ 13 h 98"/>
                <a:gd name="T14" fmla="*/ 51 w 157"/>
                <a:gd name="T15" fmla="*/ 58 h 98"/>
                <a:gd name="T16" fmla="*/ 97 w 157"/>
                <a:gd name="T17" fmla="*/ 96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98">
                  <a:moveTo>
                    <a:pt x="97" y="96"/>
                  </a:moveTo>
                  <a:cubicBezTo>
                    <a:pt x="105" y="98"/>
                    <a:pt x="125" y="98"/>
                    <a:pt x="136" y="88"/>
                  </a:cubicBezTo>
                  <a:cubicBezTo>
                    <a:pt x="148" y="83"/>
                    <a:pt x="157" y="72"/>
                    <a:pt x="150" y="50"/>
                  </a:cubicBezTo>
                  <a:cubicBezTo>
                    <a:pt x="148" y="47"/>
                    <a:pt x="147" y="44"/>
                    <a:pt x="146" y="42"/>
                  </a:cubicBezTo>
                  <a:cubicBezTo>
                    <a:pt x="137" y="42"/>
                    <a:pt x="137" y="42"/>
                    <a:pt x="137" y="42"/>
                  </a:cubicBezTo>
                  <a:cubicBezTo>
                    <a:pt x="122" y="13"/>
                    <a:pt x="96" y="13"/>
                    <a:pt x="87" y="13"/>
                  </a:cubicBezTo>
                  <a:cubicBezTo>
                    <a:pt x="76" y="13"/>
                    <a:pt x="30" y="0"/>
                    <a:pt x="13" y="13"/>
                  </a:cubicBezTo>
                  <a:cubicBezTo>
                    <a:pt x="0" y="22"/>
                    <a:pt x="34" y="50"/>
                    <a:pt x="51" y="58"/>
                  </a:cubicBezTo>
                  <a:cubicBezTo>
                    <a:pt x="69" y="67"/>
                    <a:pt x="83" y="92"/>
                    <a:pt x="97" y="96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5" name="Freeform 19"/>
            <p:cNvSpPr>
              <a:spLocks/>
            </p:cNvSpPr>
            <p:nvPr/>
          </p:nvSpPr>
          <p:spPr bwMode="auto">
            <a:xfrm>
              <a:off x="4264025" y="2660650"/>
              <a:ext cx="115887" cy="127000"/>
            </a:xfrm>
            <a:custGeom>
              <a:avLst/>
              <a:gdLst>
                <a:gd name="T0" fmla="*/ 21 w 204"/>
                <a:gd name="T1" fmla="*/ 150 h 221"/>
                <a:gd name="T2" fmla="*/ 53 w 204"/>
                <a:gd name="T3" fmla="*/ 217 h 221"/>
                <a:gd name="T4" fmla="*/ 137 w 204"/>
                <a:gd name="T5" fmla="*/ 183 h 221"/>
                <a:gd name="T6" fmla="*/ 192 w 204"/>
                <a:gd name="T7" fmla="*/ 133 h 221"/>
                <a:gd name="T8" fmla="*/ 196 w 204"/>
                <a:gd name="T9" fmla="*/ 133 h 221"/>
                <a:gd name="T10" fmla="*/ 204 w 204"/>
                <a:gd name="T11" fmla="*/ 104 h 221"/>
                <a:gd name="T12" fmla="*/ 198 w 204"/>
                <a:gd name="T13" fmla="*/ 50 h 221"/>
                <a:gd name="T14" fmla="*/ 190 w 204"/>
                <a:gd name="T15" fmla="*/ 50 h 221"/>
                <a:gd name="T16" fmla="*/ 176 w 204"/>
                <a:gd name="T17" fmla="*/ 21 h 221"/>
                <a:gd name="T18" fmla="*/ 116 w 204"/>
                <a:gd name="T19" fmla="*/ 5 h 221"/>
                <a:gd name="T20" fmla="*/ 60 w 204"/>
                <a:gd name="T21" fmla="*/ 50 h 221"/>
                <a:gd name="T22" fmla="*/ 43 w 204"/>
                <a:gd name="T23" fmla="*/ 50 h 221"/>
                <a:gd name="T24" fmla="*/ 35 w 204"/>
                <a:gd name="T25" fmla="*/ 55 h 221"/>
                <a:gd name="T26" fmla="*/ 21 w 204"/>
                <a:gd name="T27" fmla="*/ 88 h 221"/>
                <a:gd name="T28" fmla="*/ 21 w 204"/>
                <a:gd name="T29" fmla="*/ 15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4" h="221">
                  <a:moveTo>
                    <a:pt x="21" y="150"/>
                  </a:moveTo>
                  <a:cubicBezTo>
                    <a:pt x="0" y="163"/>
                    <a:pt x="25" y="212"/>
                    <a:pt x="53" y="217"/>
                  </a:cubicBezTo>
                  <a:cubicBezTo>
                    <a:pt x="81" y="221"/>
                    <a:pt x="113" y="196"/>
                    <a:pt x="137" y="183"/>
                  </a:cubicBezTo>
                  <a:cubicBezTo>
                    <a:pt x="156" y="174"/>
                    <a:pt x="181" y="157"/>
                    <a:pt x="192" y="133"/>
                  </a:cubicBezTo>
                  <a:cubicBezTo>
                    <a:pt x="196" y="133"/>
                    <a:pt x="196" y="133"/>
                    <a:pt x="196" y="133"/>
                  </a:cubicBezTo>
                  <a:cubicBezTo>
                    <a:pt x="201" y="124"/>
                    <a:pt x="204" y="115"/>
                    <a:pt x="204" y="104"/>
                  </a:cubicBezTo>
                  <a:cubicBezTo>
                    <a:pt x="204" y="84"/>
                    <a:pt x="202" y="66"/>
                    <a:pt x="198" y="50"/>
                  </a:cubicBezTo>
                  <a:cubicBezTo>
                    <a:pt x="190" y="50"/>
                    <a:pt x="190" y="50"/>
                    <a:pt x="190" y="50"/>
                  </a:cubicBezTo>
                  <a:cubicBezTo>
                    <a:pt x="186" y="38"/>
                    <a:pt x="182" y="28"/>
                    <a:pt x="176" y="21"/>
                  </a:cubicBezTo>
                  <a:cubicBezTo>
                    <a:pt x="162" y="5"/>
                    <a:pt x="137" y="0"/>
                    <a:pt x="116" y="5"/>
                  </a:cubicBezTo>
                  <a:cubicBezTo>
                    <a:pt x="84" y="11"/>
                    <a:pt x="81" y="50"/>
                    <a:pt x="60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0" y="52"/>
                    <a:pt x="37" y="53"/>
                    <a:pt x="35" y="55"/>
                  </a:cubicBezTo>
                  <a:cubicBezTo>
                    <a:pt x="24" y="61"/>
                    <a:pt x="17" y="71"/>
                    <a:pt x="21" y="88"/>
                  </a:cubicBezTo>
                  <a:cubicBezTo>
                    <a:pt x="28" y="117"/>
                    <a:pt x="42" y="138"/>
                    <a:pt x="21" y="150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6" name="Freeform 20"/>
            <p:cNvSpPr>
              <a:spLocks/>
            </p:cNvSpPr>
            <p:nvPr/>
          </p:nvSpPr>
          <p:spPr bwMode="auto">
            <a:xfrm>
              <a:off x="4335463" y="2565400"/>
              <a:ext cx="225425" cy="246063"/>
            </a:xfrm>
            <a:custGeom>
              <a:avLst/>
              <a:gdLst>
                <a:gd name="T0" fmla="*/ 99 w 397"/>
                <a:gd name="T1" fmla="*/ 208 h 435"/>
                <a:gd name="T2" fmla="*/ 180 w 397"/>
                <a:gd name="T3" fmla="*/ 258 h 435"/>
                <a:gd name="T4" fmla="*/ 64 w 397"/>
                <a:gd name="T5" fmla="*/ 381 h 435"/>
                <a:gd name="T6" fmla="*/ 156 w 397"/>
                <a:gd name="T7" fmla="*/ 395 h 435"/>
                <a:gd name="T8" fmla="*/ 152 w 397"/>
                <a:gd name="T9" fmla="*/ 432 h 435"/>
                <a:gd name="T10" fmla="*/ 169 w 397"/>
                <a:gd name="T11" fmla="*/ 428 h 435"/>
                <a:gd name="T12" fmla="*/ 193 w 397"/>
                <a:gd name="T13" fmla="*/ 408 h 435"/>
                <a:gd name="T14" fmla="*/ 208 w 397"/>
                <a:gd name="T15" fmla="*/ 403 h 435"/>
                <a:gd name="T16" fmla="*/ 321 w 397"/>
                <a:gd name="T17" fmla="*/ 424 h 435"/>
                <a:gd name="T18" fmla="*/ 350 w 397"/>
                <a:gd name="T19" fmla="*/ 412 h 435"/>
                <a:gd name="T20" fmla="*/ 397 w 397"/>
                <a:gd name="T21" fmla="*/ 357 h 435"/>
                <a:gd name="T22" fmla="*/ 391 w 397"/>
                <a:gd name="T23" fmla="*/ 357 h 435"/>
                <a:gd name="T24" fmla="*/ 392 w 397"/>
                <a:gd name="T25" fmla="*/ 349 h 435"/>
                <a:gd name="T26" fmla="*/ 370 w 397"/>
                <a:gd name="T27" fmla="*/ 303 h 435"/>
                <a:gd name="T28" fmla="*/ 379 w 397"/>
                <a:gd name="T29" fmla="*/ 303 h 435"/>
                <a:gd name="T30" fmla="*/ 328 w 397"/>
                <a:gd name="T31" fmla="*/ 253 h 435"/>
                <a:gd name="T32" fmla="*/ 295 w 397"/>
                <a:gd name="T33" fmla="*/ 220 h 435"/>
                <a:gd name="T34" fmla="*/ 285 w 397"/>
                <a:gd name="T35" fmla="*/ 220 h 435"/>
                <a:gd name="T36" fmla="*/ 247 w 397"/>
                <a:gd name="T37" fmla="*/ 165 h 435"/>
                <a:gd name="T38" fmla="*/ 257 w 397"/>
                <a:gd name="T39" fmla="*/ 165 h 435"/>
                <a:gd name="T40" fmla="*/ 240 w 397"/>
                <a:gd name="T41" fmla="*/ 145 h 435"/>
                <a:gd name="T42" fmla="*/ 283 w 397"/>
                <a:gd name="T43" fmla="*/ 83 h 435"/>
                <a:gd name="T44" fmla="*/ 280 w 397"/>
                <a:gd name="T45" fmla="*/ 83 h 435"/>
                <a:gd name="T46" fmla="*/ 287 w 397"/>
                <a:gd name="T47" fmla="*/ 49 h 435"/>
                <a:gd name="T48" fmla="*/ 204 w 397"/>
                <a:gd name="T49" fmla="*/ 28 h 435"/>
                <a:gd name="T50" fmla="*/ 255 w 397"/>
                <a:gd name="T51" fmla="*/ 28 h 435"/>
                <a:gd name="T52" fmla="*/ 166 w 397"/>
                <a:gd name="T53" fmla="*/ 12 h 435"/>
                <a:gd name="T54" fmla="*/ 121 w 397"/>
                <a:gd name="T55" fmla="*/ 13 h 435"/>
                <a:gd name="T56" fmla="*/ 89 w 397"/>
                <a:gd name="T57" fmla="*/ 46 h 435"/>
                <a:gd name="T58" fmla="*/ 29 w 397"/>
                <a:gd name="T59" fmla="*/ 50 h 435"/>
                <a:gd name="T60" fmla="*/ 25 w 397"/>
                <a:gd name="T61" fmla="*/ 125 h 435"/>
                <a:gd name="T62" fmla="*/ 99 w 397"/>
                <a:gd name="T63" fmla="*/ 208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7" h="435">
                  <a:moveTo>
                    <a:pt x="99" y="208"/>
                  </a:moveTo>
                  <a:cubicBezTo>
                    <a:pt x="134" y="224"/>
                    <a:pt x="208" y="241"/>
                    <a:pt x="180" y="258"/>
                  </a:cubicBezTo>
                  <a:cubicBezTo>
                    <a:pt x="152" y="274"/>
                    <a:pt x="71" y="356"/>
                    <a:pt x="64" y="381"/>
                  </a:cubicBezTo>
                  <a:cubicBezTo>
                    <a:pt x="57" y="406"/>
                    <a:pt x="156" y="395"/>
                    <a:pt x="156" y="395"/>
                  </a:cubicBezTo>
                  <a:cubicBezTo>
                    <a:pt x="156" y="395"/>
                    <a:pt x="134" y="424"/>
                    <a:pt x="152" y="432"/>
                  </a:cubicBezTo>
                  <a:cubicBezTo>
                    <a:pt x="158" y="435"/>
                    <a:pt x="164" y="433"/>
                    <a:pt x="169" y="428"/>
                  </a:cubicBezTo>
                  <a:cubicBezTo>
                    <a:pt x="177" y="424"/>
                    <a:pt x="184" y="415"/>
                    <a:pt x="193" y="408"/>
                  </a:cubicBezTo>
                  <a:cubicBezTo>
                    <a:pt x="198" y="405"/>
                    <a:pt x="203" y="403"/>
                    <a:pt x="208" y="403"/>
                  </a:cubicBezTo>
                  <a:cubicBezTo>
                    <a:pt x="237" y="403"/>
                    <a:pt x="293" y="424"/>
                    <a:pt x="321" y="424"/>
                  </a:cubicBezTo>
                  <a:cubicBezTo>
                    <a:pt x="330" y="424"/>
                    <a:pt x="340" y="419"/>
                    <a:pt x="350" y="412"/>
                  </a:cubicBezTo>
                  <a:cubicBezTo>
                    <a:pt x="371" y="401"/>
                    <a:pt x="392" y="378"/>
                    <a:pt x="397" y="357"/>
                  </a:cubicBezTo>
                  <a:cubicBezTo>
                    <a:pt x="391" y="357"/>
                    <a:pt x="391" y="357"/>
                    <a:pt x="391" y="357"/>
                  </a:cubicBezTo>
                  <a:cubicBezTo>
                    <a:pt x="391" y="355"/>
                    <a:pt x="392" y="352"/>
                    <a:pt x="392" y="349"/>
                  </a:cubicBezTo>
                  <a:cubicBezTo>
                    <a:pt x="390" y="336"/>
                    <a:pt x="381" y="319"/>
                    <a:pt x="370" y="303"/>
                  </a:cubicBezTo>
                  <a:cubicBezTo>
                    <a:pt x="379" y="303"/>
                    <a:pt x="379" y="303"/>
                    <a:pt x="379" y="303"/>
                  </a:cubicBezTo>
                  <a:cubicBezTo>
                    <a:pt x="365" y="282"/>
                    <a:pt x="346" y="263"/>
                    <a:pt x="328" y="253"/>
                  </a:cubicBezTo>
                  <a:cubicBezTo>
                    <a:pt x="317" y="248"/>
                    <a:pt x="306" y="235"/>
                    <a:pt x="295" y="220"/>
                  </a:cubicBezTo>
                  <a:cubicBezTo>
                    <a:pt x="285" y="220"/>
                    <a:pt x="285" y="220"/>
                    <a:pt x="285" y="220"/>
                  </a:cubicBezTo>
                  <a:cubicBezTo>
                    <a:pt x="271" y="201"/>
                    <a:pt x="258" y="180"/>
                    <a:pt x="247" y="165"/>
                  </a:cubicBezTo>
                  <a:cubicBezTo>
                    <a:pt x="257" y="165"/>
                    <a:pt x="257" y="165"/>
                    <a:pt x="257" y="165"/>
                  </a:cubicBezTo>
                  <a:cubicBezTo>
                    <a:pt x="250" y="156"/>
                    <a:pt x="245" y="149"/>
                    <a:pt x="240" y="145"/>
                  </a:cubicBezTo>
                  <a:cubicBezTo>
                    <a:pt x="226" y="135"/>
                    <a:pt x="262" y="108"/>
                    <a:pt x="283" y="83"/>
                  </a:cubicBezTo>
                  <a:cubicBezTo>
                    <a:pt x="280" y="83"/>
                    <a:pt x="280" y="83"/>
                    <a:pt x="280" y="83"/>
                  </a:cubicBezTo>
                  <a:cubicBezTo>
                    <a:pt x="290" y="70"/>
                    <a:pt x="295" y="58"/>
                    <a:pt x="287" y="49"/>
                  </a:cubicBezTo>
                  <a:cubicBezTo>
                    <a:pt x="271" y="30"/>
                    <a:pt x="236" y="31"/>
                    <a:pt x="204" y="28"/>
                  </a:cubicBezTo>
                  <a:cubicBezTo>
                    <a:pt x="255" y="28"/>
                    <a:pt x="255" y="28"/>
                    <a:pt x="255" y="28"/>
                  </a:cubicBezTo>
                  <a:cubicBezTo>
                    <a:pt x="224" y="23"/>
                    <a:pt x="185" y="26"/>
                    <a:pt x="166" y="12"/>
                  </a:cubicBezTo>
                  <a:cubicBezTo>
                    <a:pt x="150" y="0"/>
                    <a:pt x="135" y="4"/>
                    <a:pt x="121" y="13"/>
                  </a:cubicBezTo>
                  <a:cubicBezTo>
                    <a:pt x="109" y="20"/>
                    <a:pt x="98" y="33"/>
                    <a:pt x="89" y="46"/>
                  </a:cubicBezTo>
                  <a:cubicBezTo>
                    <a:pt x="71" y="71"/>
                    <a:pt x="50" y="41"/>
                    <a:pt x="29" y="50"/>
                  </a:cubicBezTo>
                  <a:cubicBezTo>
                    <a:pt x="0" y="61"/>
                    <a:pt x="11" y="104"/>
                    <a:pt x="25" y="125"/>
                  </a:cubicBezTo>
                  <a:cubicBezTo>
                    <a:pt x="39" y="145"/>
                    <a:pt x="64" y="191"/>
                    <a:pt x="99" y="208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7" name="Freeform 21"/>
            <p:cNvSpPr>
              <a:spLocks/>
            </p:cNvSpPr>
            <p:nvPr/>
          </p:nvSpPr>
          <p:spPr bwMode="auto">
            <a:xfrm>
              <a:off x="6918325" y="2024063"/>
              <a:ext cx="14287" cy="17463"/>
            </a:xfrm>
            <a:custGeom>
              <a:avLst/>
              <a:gdLst>
                <a:gd name="T0" fmla="*/ 15 w 24"/>
                <a:gd name="T1" fmla="*/ 17 h 30"/>
                <a:gd name="T2" fmla="*/ 20 w 24"/>
                <a:gd name="T3" fmla="*/ 17 h 30"/>
                <a:gd name="T4" fmla="*/ 13 w 24"/>
                <a:gd name="T5" fmla="*/ 10 h 30"/>
                <a:gd name="T6" fmla="*/ 11 w 24"/>
                <a:gd name="T7" fmla="*/ 30 h 30"/>
                <a:gd name="T8" fmla="*/ 15 w 24"/>
                <a:gd name="T9" fmla="*/ 1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30">
                  <a:moveTo>
                    <a:pt x="15" y="17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4" y="3"/>
                    <a:pt x="14" y="0"/>
                    <a:pt x="13" y="10"/>
                  </a:cubicBezTo>
                  <a:cubicBezTo>
                    <a:pt x="9" y="4"/>
                    <a:pt x="0" y="9"/>
                    <a:pt x="11" y="30"/>
                  </a:cubicBezTo>
                  <a:cubicBezTo>
                    <a:pt x="13" y="25"/>
                    <a:pt x="15" y="21"/>
                    <a:pt x="15" y="17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8" name="Freeform 22"/>
            <p:cNvSpPr>
              <a:spLocks noEditPoints="1"/>
            </p:cNvSpPr>
            <p:nvPr/>
          </p:nvSpPr>
          <p:spPr bwMode="auto">
            <a:xfrm>
              <a:off x="4090988" y="2022475"/>
              <a:ext cx="4667250" cy="3163888"/>
            </a:xfrm>
            <a:custGeom>
              <a:avLst/>
              <a:gdLst>
                <a:gd name="T0" fmla="*/ 8203 w 8214"/>
                <a:gd name="T1" fmla="*/ 508 h 5566"/>
                <a:gd name="T2" fmla="*/ 7312 w 8214"/>
                <a:gd name="T3" fmla="*/ 354 h 5566"/>
                <a:gd name="T4" fmla="*/ 6760 w 8214"/>
                <a:gd name="T5" fmla="*/ 171 h 5566"/>
                <a:gd name="T6" fmla="*/ 6189 w 8214"/>
                <a:gd name="T7" fmla="*/ 362 h 5566"/>
                <a:gd name="T8" fmla="*/ 5429 w 8214"/>
                <a:gd name="T9" fmla="*/ 213 h 5566"/>
                <a:gd name="T10" fmla="*/ 4938 w 8214"/>
                <a:gd name="T11" fmla="*/ 75 h 5566"/>
                <a:gd name="T12" fmla="*/ 4084 w 8214"/>
                <a:gd name="T13" fmla="*/ 266 h 5566"/>
                <a:gd name="T14" fmla="*/ 3869 w 8214"/>
                <a:gd name="T15" fmla="*/ 295 h 5566"/>
                <a:gd name="T16" fmla="*/ 3680 w 8214"/>
                <a:gd name="T17" fmla="*/ 624 h 5566"/>
                <a:gd name="T18" fmla="*/ 3653 w 8214"/>
                <a:gd name="T19" fmla="*/ 231 h 5566"/>
                <a:gd name="T20" fmla="*/ 3209 w 8214"/>
                <a:gd name="T21" fmla="*/ 487 h 5566"/>
                <a:gd name="T22" fmla="*/ 2658 w 8214"/>
                <a:gd name="T23" fmla="*/ 566 h 5566"/>
                <a:gd name="T24" fmla="*/ 2218 w 8214"/>
                <a:gd name="T25" fmla="*/ 678 h 5566"/>
                <a:gd name="T26" fmla="*/ 1726 w 8214"/>
                <a:gd name="T27" fmla="*/ 307 h 5566"/>
                <a:gd name="T28" fmla="*/ 1182 w 8214"/>
                <a:gd name="T29" fmla="*/ 951 h 5566"/>
                <a:gd name="T30" fmla="*/ 1496 w 8214"/>
                <a:gd name="T31" fmla="*/ 779 h 5566"/>
                <a:gd name="T32" fmla="*/ 1701 w 8214"/>
                <a:gd name="T33" fmla="*/ 959 h 5566"/>
                <a:gd name="T34" fmla="*/ 1183 w 8214"/>
                <a:gd name="T35" fmla="*/ 1132 h 5566"/>
                <a:gd name="T36" fmla="*/ 785 w 8214"/>
                <a:gd name="T37" fmla="*/ 1406 h 5566"/>
                <a:gd name="T38" fmla="*/ 528 w 8214"/>
                <a:gd name="T39" fmla="*/ 2079 h 5566"/>
                <a:gd name="T40" fmla="*/ 877 w 8214"/>
                <a:gd name="T41" fmla="*/ 1804 h 5566"/>
                <a:gd name="T42" fmla="*/ 1454 w 8214"/>
                <a:gd name="T43" fmla="*/ 1881 h 5566"/>
                <a:gd name="T44" fmla="*/ 1267 w 8214"/>
                <a:gd name="T45" fmla="*/ 1615 h 5566"/>
                <a:gd name="T46" fmla="*/ 1760 w 8214"/>
                <a:gd name="T47" fmla="*/ 1868 h 5566"/>
                <a:gd name="T48" fmla="*/ 1862 w 8214"/>
                <a:gd name="T49" fmla="*/ 2408 h 5566"/>
                <a:gd name="T50" fmla="*/ 1354 w 8214"/>
                <a:gd name="T51" fmla="*/ 2271 h 5566"/>
                <a:gd name="T52" fmla="*/ 497 w 8214"/>
                <a:gd name="T53" fmla="*/ 2130 h 5566"/>
                <a:gd name="T54" fmla="*/ 223 w 8214"/>
                <a:gd name="T55" fmla="*/ 3388 h 5566"/>
                <a:gd name="T56" fmla="*/ 1179 w 8214"/>
                <a:gd name="T57" fmla="*/ 3952 h 5566"/>
                <a:gd name="T58" fmla="*/ 1945 w 8214"/>
                <a:gd name="T59" fmla="*/ 5427 h 5566"/>
                <a:gd name="T60" fmla="*/ 2232 w 8214"/>
                <a:gd name="T61" fmla="*/ 5016 h 5566"/>
                <a:gd name="T62" fmla="*/ 2428 w 8214"/>
                <a:gd name="T63" fmla="*/ 4549 h 5566"/>
                <a:gd name="T64" fmla="*/ 2361 w 8214"/>
                <a:gd name="T65" fmla="*/ 4137 h 5566"/>
                <a:gd name="T66" fmla="*/ 2728 w 8214"/>
                <a:gd name="T67" fmla="*/ 3643 h 5566"/>
                <a:gd name="T68" fmla="*/ 2694 w 8214"/>
                <a:gd name="T69" fmla="*/ 3315 h 5566"/>
                <a:gd name="T70" fmla="*/ 2304 w 8214"/>
                <a:gd name="T71" fmla="*/ 2957 h 5566"/>
                <a:gd name="T72" fmla="*/ 2156 w 8214"/>
                <a:gd name="T73" fmla="*/ 2491 h 5566"/>
                <a:gd name="T74" fmla="*/ 3153 w 8214"/>
                <a:gd name="T75" fmla="*/ 2902 h 5566"/>
                <a:gd name="T76" fmla="*/ 2908 w 8214"/>
                <a:gd name="T77" fmla="*/ 2683 h 5566"/>
                <a:gd name="T78" fmla="*/ 3183 w 8214"/>
                <a:gd name="T79" fmla="*/ 2621 h 5566"/>
                <a:gd name="T80" fmla="*/ 3957 w 8214"/>
                <a:gd name="T81" fmla="*/ 3498 h 5566"/>
                <a:gd name="T82" fmla="*/ 4121 w 8214"/>
                <a:gd name="T83" fmla="*/ 3040 h 5566"/>
                <a:gd name="T84" fmla="*/ 4549 w 8214"/>
                <a:gd name="T85" fmla="*/ 2771 h 5566"/>
                <a:gd name="T86" fmla="*/ 4909 w 8214"/>
                <a:gd name="T87" fmla="*/ 3232 h 5566"/>
                <a:gd name="T88" fmla="*/ 5305 w 8214"/>
                <a:gd name="T89" fmla="*/ 3177 h 5566"/>
                <a:gd name="T90" fmla="*/ 5239 w 8214"/>
                <a:gd name="T91" fmla="*/ 2925 h 5566"/>
                <a:gd name="T92" fmla="*/ 5615 w 8214"/>
                <a:gd name="T93" fmla="*/ 2683 h 5566"/>
                <a:gd name="T94" fmla="*/ 5771 w 8214"/>
                <a:gd name="T95" fmla="*/ 2216 h 5566"/>
                <a:gd name="T96" fmla="*/ 5754 w 8214"/>
                <a:gd name="T97" fmla="*/ 1859 h 5566"/>
                <a:gd name="T98" fmla="*/ 6080 w 8214"/>
                <a:gd name="T99" fmla="*/ 2147 h 5566"/>
                <a:gd name="T100" fmla="*/ 6138 w 8214"/>
                <a:gd name="T101" fmla="*/ 1804 h 5566"/>
                <a:gd name="T102" fmla="*/ 6577 w 8214"/>
                <a:gd name="T103" fmla="*/ 1448 h 5566"/>
                <a:gd name="T104" fmla="*/ 6692 w 8214"/>
                <a:gd name="T105" fmla="*/ 1485 h 5566"/>
                <a:gd name="T106" fmla="*/ 6474 w 8214"/>
                <a:gd name="T107" fmla="*/ 1211 h 5566"/>
                <a:gd name="T108" fmla="*/ 6989 w 8214"/>
                <a:gd name="T109" fmla="*/ 932 h 5566"/>
                <a:gd name="T110" fmla="*/ 7287 w 8214"/>
                <a:gd name="T111" fmla="*/ 981 h 5566"/>
                <a:gd name="T112" fmla="*/ 7513 w 8214"/>
                <a:gd name="T113" fmla="*/ 1036 h 5566"/>
                <a:gd name="T114" fmla="*/ 2985 w 8214"/>
                <a:gd name="T115" fmla="*/ 2040 h 5566"/>
                <a:gd name="T116" fmla="*/ 2695 w 8214"/>
                <a:gd name="T117" fmla="*/ 1722 h 5566"/>
                <a:gd name="T118" fmla="*/ 1905 w 8214"/>
                <a:gd name="T119" fmla="*/ 1722 h 5566"/>
                <a:gd name="T120" fmla="*/ 2272 w 8214"/>
                <a:gd name="T121" fmla="*/ 1599 h 5566"/>
                <a:gd name="T122" fmla="*/ 2105 w 8214"/>
                <a:gd name="T123" fmla="*/ 3962 h 5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214" h="5566">
                  <a:moveTo>
                    <a:pt x="7633" y="890"/>
                  </a:moveTo>
                  <a:cubicBezTo>
                    <a:pt x="7739" y="890"/>
                    <a:pt x="7703" y="899"/>
                    <a:pt x="7788" y="895"/>
                  </a:cubicBezTo>
                  <a:cubicBezTo>
                    <a:pt x="7872" y="890"/>
                    <a:pt x="7904" y="841"/>
                    <a:pt x="7985" y="816"/>
                  </a:cubicBezTo>
                  <a:cubicBezTo>
                    <a:pt x="8066" y="791"/>
                    <a:pt x="8129" y="774"/>
                    <a:pt x="8154" y="786"/>
                  </a:cubicBezTo>
                  <a:cubicBezTo>
                    <a:pt x="8170" y="794"/>
                    <a:pt x="8191" y="794"/>
                    <a:pt x="8198" y="785"/>
                  </a:cubicBezTo>
                  <a:cubicBezTo>
                    <a:pt x="8206" y="781"/>
                    <a:pt x="8210" y="773"/>
                    <a:pt x="8202" y="762"/>
                  </a:cubicBezTo>
                  <a:cubicBezTo>
                    <a:pt x="8193" y="762"/>
                    <a:pt x="8193" y="762"/>
                    <a:pt x="8193" y="762"/>
                  </a:cubicBezTo>
                  <a:cubicBezTo>
                    <a:pt x="8178" y="744"/>
                    <a:pt x="8153" y="723"/>
                    <a:pt x="8140" y="707"/>
                  </a:cubicBezTo>
                  <a:cubicBezTo>
                    <a:pt x="8150" y="707"/>
                    <a:pt x="8150" y="707"/>
                    <a:pt x="8150" y="707"/>
                  </a:cubicBezTo>
                  <a:cubicBezTo>
                    <a:pt x="8142" y="696"/>
                    <a:pt x="8137" y="688"/>
                    <a:pt x="8140" y="682"/>
                  </a:cubicBezTo>
                  <a:cubicBezTo>
                    <a:pt x="8158" y="677"/>
                    <a:pt x="8176" y="673"/>
                    <a:pt x="8189" y="663"/>
                  </a:cubicBezTo>
                  <a:cubicBezTo>
                    <a:pt x="8200" y="657"/>
                    <a:pt x="8209" y="648"/>
                    <a:pt x="8213" y="632"/>
                  </a:cubicBezTo>
                  <a:cubicBezTo>
                    <a:pt x="8214" y="630"/>
                    <a:pt x="8214" y="627"/>
                    <a:pt x="8214" y="624"/>
                  </a:cubicBezTo>
                  <a:cubicBezTo>
                    <a:pt x="8208" y="624"/>
                    <a:pt x="8208" y="624"/>
                    <a:pt x="8208" y="624"/>
                  </a:cubicBezTo>
                  <a:cubicBezTo>
                    <a:pt x="8208" y="608"/>
                    <a:pt x="8199" y="589"/>
                    <a:pt x="8194" y="569"/>
                  </a:cubicBezTo>
                  <a:cubicBezTo>
                    <a:pt x="8201" y="569"/>
                    <a:pt x="8201" y="569"/>
                    <a:pt x="8201" y="569"/>
                  </a:cubicBezTo>
                  <a:cubicBezTo>
                    <a:pt x="8194" y="547"/>
                    <a:pt x="8189" y="524"/>
                    <a:pt x="8203" y="508"/>
                  </a:cubicBezTo>
                  <a:cubicBezTo>
                    <a:pt x="8209" y="501"/>
                    <a:pt x="8210" y="494"/>
                    <a:pt x="8211" y="487"/>
                  </a:cubicBezTo>
                  <a:cubicBezTo>
                    <a:pt x="8204" y="487"/>
                    <a:pt x="8204" y="487"/>
                    <a:pt x="8204" y="487"/>
                  </a:cubicBezTo>
                  <a:cubicBezTo>
                    <a:pt x="8202" y="464"/>
                    <a:pt x="8175" y="442"/>
                    <a:pt x="8150" y="432"/>
                  </a:cubicBezTo>
                  <a:cubicBezTo>
                    <a:pt x="8166" y="432"/>
                    <a:pt x="8166" y="432"/>
                    <a:pt x="8166" y="432"/>
                  </a:cubicBezTo>
                  <a:cubicBezTo>
                    <a:pt x="8159" y="429"/>
                    <a:pt x="8153" y="426"/>
                    <a:pt x="8146" y="424"/>
                  </a:cubicBezTo>
                  <a:cubicBezTo>
                    <a:pt x="8111" y="416"/>
                    <a:pt x="7974" y="433"/>
                    <a:pt x="7946" y="416"/>
                  </a:cubicBezTo>
                  <a:cubicBezTo>
                    <a:pt x="7918" y="400"/>
                    <a:pt x="7872" y="379"/>
                    <a:pt x="7858" y="391"/>
                  </a:cubicBezTo>
                  <a:cubicBezTo>
                    <a:pt x="7857" y="392"/>
                    <a:pt x="7857" y="392"/>
                    <a:pt x="7856" y="393"/>
                  </a:cubicBezTo>
                  <a:cubicBezTo>
                    <a:pt x="7854" y="394"/>
                    <a:pt x="7853" y="394"/>
                    <a:pt x="7851" y="395"/>
                  </a:cubicBezTo>
                  <a:cubicBezTo>
                    <a:pt x="7837" y="408"/>
                    <a:pt x="7805" y="474"/>
                    <a:pt x="7805" y="474"/>
                  </a:cubicBezTo>
                  <a:cubicBezTo>
                    <a:pt x="7805" y="474"/>
                    <a:pt x="7781" y="483"/>
                    <a:pt x="7760" y="445"/>
                  </a:cubicBezTo>
                  <a:cubicBezTo>
                    <a:pt x="7757" y="440"/>
                    <a:pt x="7752" y="436"/>
                    <a:pt x="7745" y="432"/>
                  </a:cubicBezTo>
                  <a:cubicBezTo>
                    <a:pt x="7757" y="432"/>
                    <a:pt x="7757" y="432"/>
                    <a:pt x="7757" y="432"/>
                  </a:cubicBezTo>
                  <a:cubicBezTo>
                    <a:pt x="7724" y="405"/>
                    <a:pt x="7626" y="408"/>
                    <a:pt x="7594" y="408"/>
                  </a:cubicBezTo>
                  <a:cubicBezTo>
                    <a:pt x="7559" y="408"/>
                    <a:pt x="7520" y="416"/>
                    <a:pt x="7481" y="420"/>
                  </a:cubicBezTo>
                  <a:cubicBezTo>
                    <a:pt x="7442" y="424"/>
                    <a:pt x="7421" y="437"/>
                    <a:pt x="7393" y="408"/>
                  </a:cubicBezTo>
                  <a:cubicBezTo>
                    <a:pt x="7365" y="379"/>
                    <a:pt x="7326" y="366"/>
                    <a:pt x="7312" y="354"/>
                  </a:cubicBezTo>
                  <a:cubicBezTo>
                    <a:pt x="7310" y="352"/>
                    <a:pt x="7308" y="351"/>
                    <a:pt x="7304" y="350"/>
                  </a:cubicBezTo>
                  <a:cubicBezTo>
                    <a:pt x="7275" y="350"/>
                    <a:pt x="7275" y="350"/>
                    <a:pt x="7275" y="350"/>
                  </a:cubicBezTo>
                  <a:cubicBezTo>
                    <a:pt x="7253" y="348"/>
                    <a:pt x="7224" y="348"/>
                    <a:pt x="7194" y="350"/>
                  </a:cubicBezTo>
                  <a:cubicBezTo>
                    <a:pt x="7159" y="350"/>
                    <a:pt x="7159" y="350"/>
                    <a:pt x="7159" y="350"/>
                  </a:cubicBezTo>
                  <a:cubicBezTo>
                    <a:pt x="7100" y="358"/>
                    <a:pt x="7041" y="358"/>
                    <a:pt x="7041" y="358"/>
                  </a:cubicBezTo>
                  <a:cubicBezTo>
                    <a:pt x="7041" y="358"/>
                    <a:pt x="7035" y="355"/>
                    <a:pt x="7025" y="350"/>
                  </a:cubicBezTo>
                  <a:cubicBezTo>
                    <a:pt x="7011" y="350"/>
                    <a:pt x="7011" y="350"/>
                    <a:pt x="7011" y="350"/>
                  </a:cubicBezTo>
                  <a:cubicBezTo>
                    <a:pt x="6999" y="343"/>
                    <a:pt x="6983" y="334"/>
                    <a:pt x="6964" y="321"/>
                  </a:cubicBezTo>
                  <a:cubicBezTo>
                    <a:pt x="6950" y="311"/>
                    <a:pt x="6936" y="302"/>
                    <a:pt x="6923" y="295"/>
                  </a:cubicBezTo>
                  <a:cubicBezTo>
                    <a:pt x="6937" y="295"/>
                    <a:pt x="6937" y="295"/>
                    <a:pt x="6937" y="295"/>
                  </a:cubicBezTo>
                  <a:cubicBezTo>
                    <a:pt x="6908" y="278"/>
                    <a:pt x="6882" y="266"/>
                    <a:pt x="6872" y="266"/>
                  </a:cubicBezTo>
                  <a:cubicBezTo>
                    <a:pt x="6858" y="266"/>
                    <a:pt x="6749" y="287"/>
                    <a:pt x="6724" y="266"/>
                  </a:cubicBezTo>
                  <a:cubicBezTo>
                    <a:pt x="6700" y="246"/>
                    <a:pt x="6675" y="233"/>
                    <a:pt x="6657" y="233"/>
                  </a:cubicBezTo>
                  <a:cubicBezTo>
                    <a:pt x="6647" y="233"/>
                    <a:pt x="6638" y="222"/>
                    <a:pt x="6637" y="213"/>
                  </a:cubicBezTo>
                  <a:cubicBezTo>
                    <a:pt x="6630" y="213"/>
                    <a:pt x="6630" y="213"/>
                    <a:pt x="6630" y="213"/>
                  </a:cubicBezTo>
                  <a:cubicBezTo>
                    <a:pt x="6630" y="208"/>
                    <a:pt x="6633" y="204"/>
                    <a:pt x="6640" y="204"/>
                  </a:cubicBezTo>
                  <a:cubicBezTo>
                    <a:pt x="6661" y="204"/>
                    <a:pt x="6760" y="171"/>
                    <a:pt x="6760" y="171"/>
                  </a:cubicBezTo>
                  <a:cubicBezTo>
                    <a:pt x="6760" y="171"/>
                    <a:pt x="6756" y="165"/>
                    <a:pt x="6750" y="158"/>
                  </a:cubicBezTo>
                  <a:cubicBezTo>
                    <a:pt x="6760" y="158"/>
                    <a:pt x="6760" y="158"/>
                    <a:pt x="6760" y="158"/>
                  </a:cubicBezTo>
                  <a:cubicBezTo>
                    <a:pt x="6750" y="144"/>
                    <a:pt x="6728" y="121"/>
                    <a:pt x="6703" y="121"/>
                  </a:cubicBezTo>
                  <a:cubicBezTo>
                    <a:pt x="6668" y="121"/>
                    <a:pt x="6605" y="100"/>
                    <a:pt x="6587" y="100"/>
                  </a:cubicBezTo>
                  <a:cubicBezTo>
                    <a:pt x="6581" y="100"/>
                    <a:pt x="6579" y="102"/>
                    <a:pt x="6577" y="105"/>
                  </a:cubicBezTo>
                  <a:cubicBezTo>
                    <a:pt x="6571" y="106"/>
                    <a:pt x="6570" y="110"/>
                    <a:pt x="6567" y="114"/>
                  </a:cubicBezTo>
                  <a:cubicBezTo>
                    <a:pt x="6564" y="115"/>
                    <a:pt x="6558" y="115"/>
                    <a:pt x="6548" y="113"/>
                  </a:cubicBezTo>
                  <a:cubicBezTo>
                    <a:pt x="6513" y="104"/>
                    <a:pt x="6465" y="130"/>
                    <a:pt x="6457" y="104"/>
                  </a:cubicBezTo>
                  <a:cubicBezTo>
                    <a:pt x="6451" y="88"/>
                    <a:pt x="6441" y="89"/>
                    <a:pt x="6432" y="97"/>
                  </a:cubicBezTo>
                  <a:cubicBezTo>
                    <a:pt x="6413" y="105"/>
                    <a:pt x="6394" y="154"/>
                    <a:pt x="6432" y="167"/>
                  </a:cubicBezTo>
                  <a:cubicBezTo>
                    <a:pt x="6485" y="183"/>
                    <a:pt x="6535" y="167"/>
                    <a:pt x="6549" y="192"/>
                  </a:cubicBezTo>
                  <a:cubicBezTo>
                    <a:pt x="6563" y="217"/>
                    <a:pt x="6549" y="229"/>
                    <a:pt x="6549" y="246"/>
                  </a:cubicBezTo>
                  <a:cubicBezTo>
                    <a:pt x="6549" y="262"/>
                    <a:pt x="6520" y="308"/>
                    <a:pt x="6503" y="316"/>
                  </a:cubicBezTo>
                  <a:cubicBezTo>
                    <a:pt x="6485" y="325"/>
                    <a:pt x="6464" y="304"/>
                    <a:pt x="6429" y="325"/>
                  </a:cubicBezTo>
                  <a:cubicBezTo>
                    <a:pt x="6394" y="345"/>
                    <a:pt x="6306" y="329"/>
                    <a:pt x="6295" y="341"/>
                  </a:cubicBezTo>
                  <a:cubicBezTo>
                    <a:pt x="6284" y="354"/>
                    <a:pt x="6263" y="308"/>
                    <a:pt x="6246" y="316"/>
                  </a:cubicBezTo>
                  <a:cubicBezTo>
                    <a:pt x="6234" y="322"/>
                    <a:pt x="6211" y="347"/>
                    <a:pt x="6189" y="362"/>
                  </a:cubicBezTo>
                  <a:cubicBezTo>
                    <a:pt x="6180" y="368"/>
                    <a:pt x="6171" y="372"/>
                    <a:pt x="6164" y="370"/>
                  </a:cubicBezTo>
                  <a:cubicBezTo>
                    <a:pt x="6153" y="368"/>
                    <a:pt x="6140" y="361"/>
                    <a:pt x="6129" y="350"/>
                  </a:cubicBezTo>
                  <a:cubicBezTo>
                    <a:pt x="6118" y="350"/>
                    <a:pt x="6118" y="350"/>
                    <a:pt x="6118" y="350"/>
                  </a:cubicBezTo>
                  <a:cubicBezTo>
                    <a:pt x="6109" y="338"/>
                    <a:pt x="6102" y="324"/>
                    <a:pt x="6102" y="308"/>
                  </a:cubicBezTo>
                  <a:cubicBezTo>
                    <a:pt x="6102" y="304"/>
                    <a:pt x="6101" y="299"/>
                    <a:pt x="6101" y="295"/>
                  </a:cubicBezTo>
                  <a:cubicBezTo>
                    <a:pt x="6108" y="295"/>
                    <a:pt x="6108" y="295"/>
                    <a:pt x="6108" y="295"/>
                  </a:cubicBezTo>
                  <a:cubicBezTo>
                    <a:pt x="6106" y="263"/>
                    <a:pt x="6097" y="228"/>
                    <a:pt x="6087" y="221"/>
                  </a:cubicBezTo>
                  <a:cubicBezTo>
                    <a:pt x="6082" y="217"/>
                    <a:pt x="6065" y="214"/>
                    <a:pt x="6045" y="213"/>
                  </a:cubicBezTo>
                  <a:cubicBezTo>
                    <a:pt x="5969" y="213"/>
                    <a:pt x="5969" y="213"/>
                    <a:pt x="5969" y="213"/>
                  </a:cubicBezTo>
                  <a:cubicBezTo>
                    <a:pt x="5940" y="217"/>
                    <a:pt x="5862" y="225"/>
                    <a:pt x="5843" y="239"/>
                  </a:cubicBezTo>
                  <a:cubicBezTo>
                    <a:pt x="5839" y="241"/>
                    <a:pt x="5836" y="243"/>
                    <a:pt x="5834" y="246"/>
                  </a:cubicBezTo>
                  <a:cubicBezTo>
                    <a:pt x="5831" y="249"/>
                    <a:pt x="5827" y="252"/>
                    <a:pt x="5823" y="254"/>
                  </a:cubicBezTo>
                  <a:cubicBezTo>
                    <a:pt x="5805" y="264"/>
                    <a:pt x="5781" y="271"/>
                    <a:pt x="5763" y="271"/>
                  </a:cubicBezTo>
                  <a:cubicBezTo>
                    <a:pt x="5738" y="271"/>
                    <a:pt x="5717" y="241"/>
                    <a:pt x="5664" y="233"/>
                  </a:cubicBezTo>
                  <a:cubicBezTo>
                    <a:pt x="5612" y="225"/>
                    <a:pt x="5495" y="221"/>
                    <a:pt x="5481" y="225"/>
                  </a:cubicBezTo>
                  <a:cubicBezTo>
                    <a:pt x="5471" y="228"/>
                    <a:pt x="5445" y="222"/>
                    <a:pt x="5438" y="213"/>
                  </a:cubicBezTo>
                  <a:cubicBezTo>
                    <a:pt x="5429" y="213"/>
                    <a:pt x="5429" y="213"/>
                    <a:pt x="5429" y="213"/>
                  </a:cubicBezTo>
                  <a:cubicBezTo>
                    <a:pt x="5429" y="210"/>
                    <a:pt x="5429" y="207"/>
                    <a:pt x="5433" y="204"/>
                  </a:cubicBezTo>
                  <a:cubicBezTo>
                    <a:pt x="5442" y="196"/>
                    <a:pt x="5460" y="177"/>
                    <a:pt x="5471" y="158"/>
                  </a:cubicBezTo>
                  <a:cubicBezTo>
                    <a:pt x="5475" y="158"/>
                    <a:pt x="5475" y="158"/>
                    <a:pt x="5475" y="158"/>
                  </a:cubicBezTo>
                  <a:cubicBezTo>
                    <a:pt x="5488" y="138"/>
                    <a:pt x="5494" y="117"/>
                    <a:pt x="5478" y="104"/>
                  </a:cubicBezTo>
                  <a:cubicBezTo>
                    <a:pt x="5447" y="80"/>
                    <a:pt x="5380" y="79"/>
                    <a:pt x="5347" y="75"/>
                  </a:cubicBezTo>
                  <a:cubicBezTo>
                    <a:pt x="5310" y="75"/>
                    <a:pt x="5310" y="75"/>
                    <a:pt x="5310" y="75"/>
                  </a:cubicBezTo>
                  <a:cubicBezTo>
                    <a:pt x="5287" y="72"/>
                    <a:pt x="5260" y="69"/>
                    <a:pt x="5225" y="75"/>
                  </a:cubicBezTo>
                  <a:cubicBezTo>
                    <a:pt x="5225" y="75"/>
                    <a:pt x="5224" y="75"/>
                    <a:pt x="5224" y="75"/>
                  </a:cubicBezTo>
                  <a:cubicBezTo>
                    <a:pt x="5213" y="75"/>
                    <a:pt x="5213" y="75"/>
                    <a:pt x="5213" y="75"/>
                  </a:cubicBezTo>
                  <a:cubicBezTo>
                    <a:pt x="5179" y="86"/>
                    <a:pt x="5169" y="105"/>
                    <a:pt x="5150" y="83"/>
                  </a:cubicBezTo>
                  <a:cubicBezTo>
                    <a:pt x="5149" y="81"/>
                    <a:pt x="5148" y="80"/>
                    <a:pt x="5147" y="79"/>
                  </a:cubicBezTo>
                  <a:cubicBezTo>
                    <a:pt x="5157" y="80"/>
                    <a:pt x="5169" y="86"/>
                    <a:pt x="5123" y="63"/>
                  </a:cubicBezTo>
                  <a:cubicBezTo>
                    <a:pt x="5049" y="25"/>
                    <a:pt x="5006" y="62"/>
                    <a:pt x="4992" y="42"/>
                  </a:cubicBezTo>
                  <a:cubicBezTo>
                    <a:pt x="4990" y="38"/>
                    <a:pt x="4988" y="35"/>
                    <a:pt x="4987" y="33"/>
                  </a:cubicBezTo>
                  <a:cubicBezTo>
                    <a:pt x="4981" y="44"/>
                    <a:pt x="4968" y="58"/>
                    <a:pt x="4940" y="75"/>
                  </a:cubicBezTo>
                  <a:cubicBezTo>
                    <a:pt x="4939" y="75"/>
                    <a:pt x="4939" y="75"/>
                    <a:pt x="4939" y="75"/>
                  </a:cubicBezTo>
                  <a:cubicBezTo>
                    <a:pt x="4938" y="75"/>
                    <a:pt x="4938" y="75"/>
                    <a:pt x="4938" y="75"/>
                  </a:cubicBezTo>
                  <a:cubicBezTo>
                    <a:pt x="4890" y="103"/>
                    <a:pt x="4858" y="109"/>
                    <a:pt x="4844" y="113"/>
                  </a:cubicBezTo>
                  <a:cubicBezTo>
                    <a:pt x="4830" y="117"/>
                    <a:pt x="4732" y="97"/>
                    <a:pt x="4732" y="83"/>
                  </a:cubicBezTo>
                  <a:cubicBezTo>
                    <a:pt x="4731" y="80"/>
                    <a:pt x="4731" y="78"/>
                    <a:pt x="4731" y="75"/>
                  </a:cubicBezTo>
                  <a:cubicBezTo>
                    <a:pt x="4724" y="75"/>
                    <a:pt x="4724" y="75"/>
                    <a:pt x="4724" y="75"/>
                  </a:cubicBezTo>
                  <a:cubicBezTo>
                    <a:pt x="4718" y="0"/>
                    <a:pt x="4680" y="78"/>
                    <a:pt x="4648" y="103"/>
                  </a:cubicBezTo>
                  <a:cubicBezTo>
                    <a:pt x="4648" y="104"/>
                    <a:pt x="4647" y="104"/>
                    <a:pt x="4647" y="104"/>
                  </a:cubicBezTo>
                  <a:cubicBezTo>
                    <a:pt x="4612" y="121"/>
                    <a:pt x="4587" y="146"/>
                    <a:pt x="4552" y="137"/>
                  </a:cubicBezTo>
                  <a:cubicBezTo>
                    <a:pt x="4517" y="129"/>
                    <a:pt x="4460" y="129"/>
                    <a:pt x="4425" y="146"/>
                  </a:cubicBezTo>
                  <a:cubicBezTo>
                    <a:pt x="4414" y="151"/>
                    <a:pt x="4405" y="154"/>
                    <a:pt x="4395" y="158"/>
                  </a:cubicBezTo>
                  <a:cubicBezTo>
                    <a:pt x="4400" y="158"/>
                    <a:pt x="4400" y="158"/>
                    <a:pt x="4400" y="158"/>
                  </a:cubicBezTo>
                  <a:cubicBezTo>
                    <a:pt x="4374" y="168"/>
                    <a:pt x="4352" y="172"/>
                    <a:pt x="4324" y="196"/>
                  </a:cubicBezTo>
                  <a:cubicBezTo>
                    <a:pt x="4316" y="202"/>
                    <a:pt x="4307" y="208"/>
                    <a:pt x="4297" y="213"/>
                  </a:cubicBezTo>
                  <a:cubicBezTo>
                    <a:pt x="4296" y="213"/>
                    <a:pt x="4296" y="213"/>
                    <a:pt x="4296" y="213"/>
                  </a:cubicBezTo>
                  <a:cubicBezTo>
                    <a:pt x="4263" y="228"/>
                    <a:pt x="4228" y="237"/>
                    <a:pt x="4228" y="237"/>
                  </a:cubicBezTo>
                  <a:cubicBezTo>
                    <a:pt x="4228" y="237"/>
                    <a:pt x="4168" y="233"/>
                    <a:pt x="4137" y="233"/>
                  </a:cubicBezTo>
                  <a:cubicBezTo>
                    <a:pt x="4116" y="233"/>
                    <a:pt x="4091" y="233"/>
                    <a:pt x="4084" y="241"/>
                  </a:cubicBezTo>
                  <a:cubicBezTo>
                    <a:pt x="4074" y="245"/>
                    <a:pt x="4070" y="252"/>
                    <a:pt x="4084" y="266"/>
                  </a:cubicBezTo>
                  <a:cubicBezTo>
                    <a:pt x="4112" y="296"/>
                    <a:pt x="4197" y="325"/>
                    <a:pt x="4207" y="341"/>
                  </a:cubicBezTo>
                  <a:cubicBezTo>
                    <a:pt x="4218" y="358"/>
                    <a:pt x="4231" y="405"/>
                    <a:pt x="4215" y="419"/>
                  </a:cubicBezTo>
                  <a:cubicBezTo>
                    <a:pt x="4198" y="427"/>
                    <a:pt x="4175" y="421"/>
                    <a:pt x="4172" y="387"/>
                  </a:cubicBezTo>
                  <a:cubicBezTo>
                    <a:pt x="4170" y="368"/>
                    <a:pt x="4168" y="358"/>
                    <a:pt x="4161" y="350"/>
                  </a:cubicBezTo>
                  <a:cubicBezTo>
                    <a:pt x="4150" y="350"/>
                    <a:pt x="4150" y="350"/>
                    <a:pt x="4150" y="350"/>
                  </a:cubicBezTo>
                  <a:cubicBezTo>
                    <a:pt x="4143" y="344"/>
                    <a:pt x="4133" y="340"/>
                    <a:pt x="4116" y="333"/>
                  </a:cubicBezTo>
                  <a:cubicBezTo>
                    <a:pt x="4075" y="317"/>
                    <a:pt x="4077" y="328"/>
                    <a:pt x="4045" y="295"/>
                  </a:cubicBezTo>
                  <a:cubicBezTo>
                    <a:pt x="4056" y="295"/>
                    <a:pt x="4056" y="295"/>
                    <a:pt x="4056" y="295"/>
                  </a:cubicBezTo>
                  <a:cubicBezTo>
                    <a:pt x="4054" y="292"/>
                    <a:pt x="4051" y="290"/>
                    <a:pt x="4048" y="287"/>
                  </a:cubicBezTo>
                  <a:cubicBezTo>
                    <a:pt x="4019" y="256"/>
                    <a:pt x="3988" y="254"/>
                    <a:pt x="3968" y="268"/>
                  </a:cubicBezTo>
                  <a:cubicBezTo>
                    <a:pt x="3961" y="272"/>
                    <a:pt x="3955" y="277"/>
                    <a:pt x="3950" y="283"/>
                  </a:cubicBezTo>
                  <a:cubicBezTo>
                    <a:pt x="3935" y="305"/>
                    <a:pt x="3941" y="344"/>
                    <a:pt x="3929" y="358"/>
                  </a:cubicBezTo>
                  <a:cubicBezTo>
                    <a:pt x="3929" y="358"/>
                    <a:pt x="3929" y="358"/>
                    <a:pt x="3929" y="358"/>
                  </a:cubicBezTo>
                  <a:cubicBezTo>
                    <a:pt x="3910" y="362"/>
                    <a:pt x="3888" y="375"/>
                    <a:pt x="3881" y="350"/>
                  </a:cubicBezTo>
                  <a:cubicBezTo>
                    <a:pt x="3874" y="350"/>
                    <a:pt x="3874" y="350"/>
                    <a:pt x="3874" y="350"/>
                  </a:cubicBezTo>
                  <a:cubicBezTo>
                    <a:pt x="3873" y="348"/>
                    <a:pt x="3873" y="347"/>
                    <a:pt x="3873" y="345"/>
                  </a:cubicBezTo>
                  <a:cubicBezTo>
                    <a:pt x="3872" y="331"/>
                    <a:pt x="3871" y="311"/>
                    <a:pt x="3869" y="295"/>
                  </a:cubicBezTo>
                  <a:cubicBezTo>
                    <a:pt x="3876" y="295"/>
                    <a:pt x="3876" y="295"/>
                    <a:pt x="3876" y="295"/>
                  </a:cubicBezTo>
                  <a:cubicBezTo>
                    <a:pt x="3873" y="271"/>
                    <a:pt x="3869" y="254"/>
                    <a:pt x="3857" y="266"/>
                  </a:cubicBezTo>
                  <a:cubicBezTo>
                    <a:pt x="3854" y="267"/>
                    <a:pt x="3850" y="270"/>
                    <a:pt x="3845" y="279"/>
                  </a:cubicBezTo>
                  <a:cubicBezTo>
                    <a:pt x="3820" y="321"/>
                    <a:pt x="3810" y="321"/>
                    <a:pt x="3810" y="341"/>
                  </a:cubicBezTo>
                  <a:cubicBezTo>
                    <a:pt x="3810" y="362"/>
                    <a:pt x="3831" y="383"/>
                    <a:pt x="3824" y="420"/>
                  </a:cubicBezTo>
                  <a:cubicBezTo>
                    <a:pt x="3817" y="458"/>
                    <a:pt x="3817" y="483"/>
                    <a:pt x="3827" y="483"/>
                  </a:cubicBezTo>
                  <a:cubicBezTo>
                    <a:pt x="3838" y="483"/>
                    <a:pt x="3862" y="445"/>
                    <a:pt x="3894" y="437"/>
                  </a:cubicBezTo>
                  <a:cubicBezTo>
                    <a:pt x="3926" y="429"/>
                    <a:pt x="3982" y="408"/>
                    <a:pt x="3986" y="445"/>
                  </a:cubicBezTo>
                  <a:cubicBezTo>
                    <a:pt x="3989" y="478"/>
                    <a:pt x="4015" y="492"/>
                    <a:pt x="3999" y="505"/>
                  </a:cubicBezTo>
                  <a:cubicBezTo>
                    <a:pt x="3998" y="506"/>
                    <a:pt x="3997" y="507"/>
                    <a:pt x="3996" y="508"/>
                  </a:cubicBezTo>
                  <a:cubicBezTo>
                    <a:pt x="3960" y="524"/>
                    <a:pt x="3922" y="516"/>
                    <a:pt x="3915" y="491"/>
                  </a:cubicBezTo>
                  <a:cubicBezTo>
                    <a:pt x="3914" y="489"/>
                    <a:pt x="3914" y="488"/>
                    <a:pt x="3913" y="487"/>
                  </a:cubicBezTo>
                  <a:cubicBezTo>
                    <a:pt x="3905" y="487"/>
                    <a:pt x="3905" y="487"/>
                    <a:pt x="3905" y="487"/>
                  </a:cubicBezTo>
                  <a:cubicBezTo>
                    <a:pt x="3895" y="471"/>
                    <a:pt x="3873" y="473"/>
                    <a:pt x="3852" y="491"/>
                  </a:cubicBezTo>
                  <a:cubicBezTo>
                    <a:pt x="3827" y="512"/>
                    <a:pt x="3774" y="587"/>
                    <a:pt x="3774" y="587"/>
                  </a:cubicBezTo>
                  <a:cubicBezTo>
                    <a:pt x="3774" y="587"/>
                    <a:pt x="3714" y="619"/>
                    <a:pt x="3689" y="624"/>
                  </a:cubicBezTo>
                  <a:cubicBezTo>
                    <a:pt x="3680" y="624"/>
                    <a:pt x="3680" y="624"/>
                    <a:pt x="3680" y="624"/>
                  </a:cubicBezTo>
                  <a:cubicBezTo>
                    <a:pt x="3680" y="624"/>
                    <a:pt x="3679" y="624"/>
                    <a:pt x="3679" y="624"/>
                  </a:cubicBezTo>
                  <a:cubicBezTo>
                    <a:pt x="3671" y="618"/>
                    <a:pt x="3691" y="591"/>
                    <a:pt x="3713" y="569"/>
                  </a:cubicBezTo>
                  <a:cubicBezTo>
                    <a:pt x="3715" y="569"/>
                    <a:pt x="3715" y="569"/>
                    <a:pt x="3715" y="569"/>
                  </a:cubicBezTo>
                  <a:cubicBezTo>
                    <a:pt x="3724" y="560"/>
                    <a:pt x="3734" y="551"/>
                    <a:pt x="3742" y="545"/>
                  </a:cubicBezTo>
                  <a:cubicBezTo>
                    <a:pt x="3761" y="531"/>
                    <a:pt x="3777" y="506"/>
                    <a:pt x="3782" y="487"/>
                  </a:cubicBezTo>
                  <a:cubicBezTo>
                    <a:pt x="3776" y="487"/>
                    <a:pt x="3776" y="487"/>
                    <a:pt x="3776" y="487"/>
                  </a:cubicBezTo>
                  <a:cubicBezTo>
                    <a:pt x="3778" y="480"/>
                    <a:pt x="3777" y="474"/>
                    <a:pt x="3774" y="470"/>
                  </a:cubicBezTo>
                  <a:cubicBezTo>
                    <a:pt x="3770" y="465"/>
                    <a:pt x="3766" y="450"/>
                    <a:pt x="3762" y="432"/>
                  </a:cubicBezTo>
                  <a:cubicBezTo>
                    <a:pt x="3769" y="432"/>
                    <a:pt x="3769" y="432"/>
                    <a:pt x="3769" y="432"/>
                  </a:cubicBezTo>
                  <a:cubicBezTo>
                    <a:pt x="3763" y="404"/>
                    <a:pt x="3759" y="367"/>
                    <a:pt x="3763" y="354"/>
                  </a:cubicBezTo>
                  <a:cubicBezTo>
                    <a:pt x="3764" y="352"/>
                    <a:pt x="3765" y="351"/>
                    <a:pt x="3765" y="350"/>
                  </a:cubicBezTo>
                  <a:cubicBezTo>
                    <a:pt x="3760" y="350"/>
                    <a:pt x="3760" y="350"/>
                    <a:pt x="3760" y="350"/>
                  </a:cubicBezTo>
                  <a:cubicBezTo>
                    <a:pt x="3769" y="333"/>
                    <a:pt x="3786" y="312"/>
                    <a:pt x="3770" y="295"/>
                  </a:cubicBezTo>
                  <a:cubicBezTo>
                    <a:pt x="3779" y="295"/>
                    <a:pt x="3779" y="295"/>
                    <a:pt x="3779" y="295"/>
                  </a:cubicBezTo>
                  <a:cubicBezTo>
                    <a:pt x="3777" y="291"/>
                    <a:pt x="3773" y="287"/>
                    <a:pt x="3767" y="283"/>
                  </a:cubicBezTo>
                  <a:cubicBezTo>
                    <a:pt x="3732" y="262"/>
                    <a:pt x="3707" y="237"/>
                    <a:pt x="3679" y="225"/>
                  </a:cubicBezTo>
                  <a:cubicBezTo>
                    <a:pt x="3670" y="221"/>
                    <a:pt x="3662" y="225"/>
                    <a:pt x="3653" y="231"/>
                  </a:cubicBezTo>
                  <a:cubicBezTo>
                    <a:pt x="3630" y="243"/>
                    <a:pt x="3607" y="283"/>
                    <a:pt x="3588" y="296"/>
                  </a:cubicBezTo>
                  <a:cubicBezTo>
                    <a:pt x="3563" y="312"/>
                    <a:pt x="3567" y="333"/>
                    <a:pt x="3535" y="337"/>
                  </a:cubicBezTo>
                  <a:cubicBezTo>
                    <a:pt x="3503" y="341"/>
                    <a:pt x="3482" y="391"/>
                    <a:pt x="3535" y="420"/>
                  </a:cubicBezTo>
                  <a:cubicBezTo>
                    <a:pt x="3588" y="449"/>
                    <a:pt x="3605" y="470"/>
                    <a:pt x="3591" y="487"/>
                  </a:cubicBezTo>
                  <a:cubicBezTo>
                    <a:pt x="3591" y="487"/>
                    <a:pt x="3591" y="487"/>
                    <a:pt x="3591" y="487"/>
                  </a:cubicBezTo>
                  <a:cubicBezTo>
                    <a:pt x="3591" y="487"/>
                    <a:pt x="3591" y="487"/>
                    <a:pt x="3591" y="487"/>
                  </a:cubicBezTo>
                  <a:cubicBezTo>
                    <a:pt x="3584" y="489"/>
                    <a:pt x="3576" y="489"/>
                    <a:pt x="3567" y="487"/>
                  </a:cubicBezTo>
                  <a:cubicBezTo>
                    <a:pt x="3542" y="487"/>
                    <a:pt x="3542" y="487"/>
                    <a:pt x="3542" y="487"/>
                  </a:cubicBezTo>
                  <a:cubicBezTo>
                    <a:pt x="3528" y="483"/>
                    <a:pt x="3517" y="479"/>
                    <a:pt x="3517" y="479"/>
                  </a:cubicBezTo>
                  <a:cubicBezTo>
                    <a:pt x="3517" y="479"/>
                    <a:pt x="3472" y="454"/>
                    <a:pt x="3443" y="454"/>
                  </a:cubicBezTo>
                  <a:cubicBezTo>
                    <a:pt x="3419" y="454"/>
                    <a:pt x="3391" y="439"/>
                    <a:pt x="3365" y="432"/>
                  </a:cubicBezTo>
                  <a:cubicBezTo>
                    <a:pt x="3386" y="432"/>
                    <a:pt x="3386" y="432"/>
                    <a:pt x="3386" y="432"/>
                  </a:cubicBezTo>
                  <a:cubicBezTo>
                    <a:pt x="3377" y="429"/>
                    <a:pt x="3367" y="426"/>
                    <a:pt x="3358" y="424"/>
                  </a:cubicBezTo>
                  <a:cubicBezTo>
                    <a:pt x="3333" y="421"/>
                    <a:pt x="3286" y="420"/>
                    <a:pt x="3266" y="432"/>
                  </a:cubicBezTo>
                  <a:cubicBezTo>
                    <a:pt x="3269" y="432"/>
                    <a:pt x="3269" y="432"/>
                    <a:pt x="3269" y="432"/>
                  </a:cubicBezTo>
                  <a:cubicBezTo>
                    <a:pt x="3262" y="434"/>
                    <a:pt x="3257" y="437"/>
                    <a:pt x="3253" y="441"/>
                  </a:cubicBezTo>
                  <a:cubicBezTo>
                    <a:pt x="3245" y="452"/>
                    <a:pt x="3227" y="475"/>
                    <a:pt x="3209" y="487"/>
                  </a:cubicBezTo>
                  <a:cubicBezTo>
                    <a:pt x="3207" y="487"/>
                    <a:pt x="3207" y="487"/>
                    <a:pt x="3207" y="487"/>
                  </a:cubicBezTo>
                  <a:cubicBezTo>
                    <a:pt x="3199" y="491"/>
                    <a:pt x="3191" y="491"/>
                    <a:pt x="3183" y="487"/>
                  </a:cubicBezTo>
                  <a:cubicBezTo>
                    <a:pt x="3170" y="487"/>
                    <a:pt x="3170" y="487"/>
                    <a:pt x="3170" y="487"/>
                  </a:cubicBezTo>
                  <a:cubicBezTo>
                    <a:pt x="3148" y="472"/>
                    <a:pt x="3144" y="459"/>
                    <a:pt x="3109" y="474"/>
                  </a:cubicBezTo>
                  <a:cubicBezTo>
                    <a:pt x="3070" y="491"/>
                    <a:pt x="3032" y="462"/>
                    <a:pt x="3010" y="487"/>
                  </a:cubicBezTo>
                  <a:cubicBezTo>
                    <a:pt x="3005" y="493"/>
                    <a:pt x="3002" y="498"/>
                    <a:pt x="3000" y="501"/>
                  </a:cubicBezTo>
                  <a:cubicBezTo>
                    <a:pt x="2994" y="502"/>
                    <a:pt x="2984" y="497"/>
                    <a:pt x="2958" y="487"/>
                  </a:cubicBezTo>
                  <a:cubicBezTo>
                    <a:pt x="2940" y="487"/>
                    <a:pt x="2940" y="487"/>
                    <a:pt x="2940" y="487"/>
                  </a:cubicBezTo>
                  <a:cubicBezTo>
                    <a:pt x="2940" y="487"/>
                    <a:pt x="2940" y="487"/>
                    <a:pt x="2940" y="487"/>
                  </a:cubicBezTo>
                  <a:cubicBezTo>
                    <a:pt x="2893" y="469"/>
                    <a:pt x="2886" y="485"/>
                    <a:pt x="2863" y="500"/>
                  </a:cubicBezTo>
                  <a:cubicBezTo>
                    <a:pt x="2855" y="505"/>
                    <a:pt x="2845" y="509"/>
                    <a:pt x="2830" y="512"/>
                  </a:cubicBezTo>
                  <a:cubicBezTo>
                    <a:pt x="2772" y="523"/>
                    <a:pt x="2734" y="503"/>
                    <a:pt x="2715" y="520"/>
                  </a:cubicBezTo>
                  <a:cubicBezTo>
                    <a:pt x="2711" y="522"/>
                    <a:pt x="2707" y="524"/>
                    <a:pt x="2704" y="529"/>
                  </a:cubicBezTo>
                  <a:cubicBezTo>
                    <a:pt x="2686" y="554"/>
                    <a:pt x="2662" y="599"/>
                    <a:pt x="2651" y="570"/>
                  </a:cubicBezTo>
                  <a:cubicBezTo>
                    <a:pt x="2651" y="570"/>
                    <a:pt x="2651" y="570"/>
                    <a:pt x="2651" y="569"/>
                  </a:cubicBezTo>
                  <a:cubicBezTo>
                    <a:pt x="2660" y="569"/>
                    <a:pt x="2660" y="569"/>
                    <a:pt x="2660" y="569"/>
                  </a:cubicBezTo>
                  <a:cubicBezTo>
                    <a:pt x="2659" y="568"/>
                    <a:pt x="2659" y="568"/>
                    <a:pt x="2658" y="566"/>
                  </a:cubicBezTo>
                  <a:cubicBezTo>
                    <a:pt x="2650" y="544"/>
                    <a:pt x="2674" y="509"/>
                    <a:pt x="2679" y="487"/>
                  </a:cubicBezTo>
                  <a:cubicBezTo>
                    <a:pt x="2672" y="487"/>
                    <a:pt x="2672" y="487"/>
                    <a:pt x="2672" y="487"/>
                  </a:cubicBezTo>
                  <a:cubicBezTo>
                    <a:pt x="2673" y="482"/>
                    <a:pt x="2672" y="478"/>
                    <a:pt x="2669" y="474"/>
                  </a:cubicBezTo>
                  <a:cubicBezTo>
                    <a:pt x="2651" y="458"/>
                    <a:pt x="2577" y="466"/>
                    <a:pt x="2567" y="479"/>
                  </a:cubicBezTo>
                  <a:cubicBezTo>
                    <a:pt x="2556" y="491"/>
                    <a:pt x="2563" y="537"/>
                    <a:pt x="2570" y="554"/>
                  </a:cubicBezTo>
                  <a:cubicBezTo>
                    <a:pt x="2576" y="568"/>
                    <a:pt x="2585" y="617"/>
                    <a:pt x="2574" y="624"/>
                  </a:cubicBezTo>
                  <a:cubicBezTo>
                    <a:pt x="2567" y="624"/>
                    <a:pt x="2567" y="624"/>
                    <a:pt x="2567" y="624"/>
                  </a:cubicBezTo>
                  <a:cubicBezTo>
                    <a:pt x="2567" y="624"/>
                    <a:pt x="2567" y="624"/>
                    <a:pt x="2567" y="624"/>
                  </a:cubicBezTo>
                  <a:cubicBezTo>
                    <a:pt x="2546" y="612"/>
                    <a:pt x="2549" y="570"/>
                    <a:pt x="2528" y="574"/>
                  </a:cubicBezTo>
                  <a:cubicBezTo>
                    <a:pt x="2507" y="579"/>
                    <a:pt x="2482" y="591"/>
                    <a:pt x="2472" y="599"/>
                  </a:cubicBezTo>
                  <a:cubicBezTo>
                    <a:pt x="2461" y="608"/>
                    <a:pt x="2419" y="608"/>
                    <a:pt x="2408" y="624"/>
                  </a:cubicBezTo>
                  <a:cubicBezTo>
                    <a:pt x="2399" y="639"/>
                    <a:pt x="2408" y="675"/>
                    <a:pt x="2400" y="687"/>
                  </a:cubicBezTo>
                  <a:cubicBezTo>
                    <a:pt x="2383" y="691"/>
                    <a:pt x="2368" y="707"/>
                    <a:pt x="2331" y="678"/>
                  </a:cubicBezTo>
                  <a:cubicBezTo>
                    <a:pt x="2303" y="657"/>
                    <a:pt x="2295" y="660"/>
                    <a:pt x="2289" y="666"/>
                  </a:cubicBezTo>
                  <a:cubicBezTo>
                    <a:pt x="2282" y="668"/>
                    <a:pt x="2280" y="674"/>
                    <a:pt x="2275" y="678"/>
                  </a:cubicBezTo>
                  <a:cubicBezTo>
                    <a:pt x="2273" y="679"/>
                    <a:pt x="2271" y="681"/>
                    <a:pt x="2269" y="682"/>
                  </a:cubicBezTo>
                  <a:cubicBezTo>
                    <a:pt x="2251" y="694"/>
                    <a:pt x="2220" y="707"/>
                    <a:pt x="2218" y="678"/>
                  </a:cubicBezTo>
                  <a:cubicBezTo>
                    <a:pt x="2215" y="653"/>
                    <a:pt x="2219" y="639"/>
                    <a:pt x="2212" y="624"/>
                  </a:cubicBezTo>
                  <a:cubicBezTo>
                    <a:pt x="2203" y="624"/>
                    <a:pt x="2203" y="624"/>
                    <a:pt x="2203" y="624"/>
                  </a:cubicBezTo>
                  <a:cubicBezTo>
                    <a:pt x="2200" y="619"/>
                    <a:pt x="2194" y="614"/>
                    <a:pt x="2187" y="608"/>
                  </a:cubicBezTo>
                  <a:cubicBezTo>
                    <a:pt x="2155" y="583"/>
                    <a:pt x="2179" y="583"/>
                    <a:pt x="2222" y="599"/>
                  </a:cubicBezTo>
                  <a:cubicBezTo>
                    <a:pt x="2264" y="616"/>
                    <a:pt x="2317" y="624"/>
                    <a:pt x="2394" y="595"/>
                  </a:cubicBezTo>
                  <a:cubicBezTo>
                    <a:pt x="2436" y="579"/>
                    <a:pt x="2464" y="569"/>
                    <a:pt x="2476" y="559"/>
                  </a:cubicBezTo>
                  <a:cubicBezTo>
                    <a:pt x="2494" y="550"/>
                    <a:pt x="2496" y="542"/>
                    <a:pt x="2478" y="533"/>
                  </a:cubicBezTo>
                  <a:cubicBezTo>
                    <a:pt x="2461" y="524"/>
                    <a:pt x="2446" y="504"/>
                    <a:pt x="2428" y="487"/>
                  </a:cubicBezTo>
                  <a:cubicBezTo>
                    <a:pt x="2417" y="487"/>
                    <a:pt x="2417" y="487"/>
                    <a:pt x="2417" y="487"/>
                  </a:cubicBezTo>
                  <a:cubicBezTo>
                    <a:pt x="2402" y="474"/>
                    <a:pt x="2386" y="462"/>
                    <a:pt x="2365" y="459"/>
                  </a:cubicBezTo>
                  <a:cubicBezTo>
                    <a:pt x="2316" y="451"/>
                    <a:pt x="2243" y="487"/>
                    <a:pt x="2165" y="454"/>
                  </a:cubicBezTo>
                  <a:cubicBezTo>
                    <a:pt x="2146" y="445"/>
                    <a:pt x="2130" y="438"/>
                    <a:pt x="2117" y="432"/>
                  </a:cubicBezTo>
                  <a:cubicBezTo>
                    <a:pt x="2133" y="432"/>
                    <a:pt x="2133" y="432"/>
                    <a:pt x="2133" y="432"/>
                  </a:cubicBezTo>
                  <a:cubicBezTo>
                    <a:pt x="2088" y="411"/>
                    <a:pt x="2071" y="402"/>
                    <a:pt x="2045" y="395"/>
                  </a:cubicBezTo>
                  <a:cubicBezTo>
                    <a:pt x="2032" y="392"/>
                    <a:pt x="1988" y="371"/>
                    <a:pt x="1935" y="350"/>
                  </a:cubicBezTo>
                  <a:cubicBezTo>
                    <a:pt x="1918" y="350"/>
                    <a:pt x="1918" y="350"/>
                    <a:pt x="1918" y="350"/>
                  </a:cubicBezTo>
                  <a:cubicBezTo>
                    <a:pt x="1851" y="324"/>
                    <a:pt x="1773" y="299"/>
                    <a:pt x="1726" y="307"/>
                  </a:cubicBezTo>
                  <a:cubicBezTo>
                    <a:pt x="1699" y="313"/>
                    <a:pt x="1657" y="329"/>
                    <a:pt x="1612" y="350"/>
                  </a:cubicBezTo>
                  <a:cubicBezTo>
                    <a:pt x="1610" y="350"/>
                    <a:pt x="1610" y="350"/>
                    <a:pt x="1610" y="350"/>
                  </a:cubicBezTo>
                  <a:cubicBezTo>
                    <a:pt x="1554" y="376"/>
                    <a:pt x="1494" y="408"/>
                    <a:pt x="1450" y="432"/>
                  </a:cubicBezTo>
                  <a:cubicBezTo>
                    <a:pt x="1451" y="432"/>
                    <a:pt x="1451" y="432"/>
                    <a:pt x="1451" y="432"/>
                  </a:cubicBezTo>
                  <a:cubicBezTo>
                    <a:pt x="1413" y="454"/>
                    <a:pt x="1385" y="470"/>
                    <a:pt x="1380" y="474"/>
                  </a:cubicBezTo>
                  <a:cubicBezTo>
                    <a:pt x="1366" y="487"/>
                    <a:pt x="1345" y="537"/>
                    <a:pt x="1299" y="579"/>
                  </a:cubicBezTo>
                  <a:cubicBezTo>
                    <a:pt x="1282" y="594"/>
                    <a:pt x="1260" y="610"/>
                    <a:pt x="1235" y="624"/>
                  </a:cubicBezTo>
                  <a:cubicBezTo>
                    <a:pt x="1234" y="624"/>
                    <a:pt x="1234" y="624"/>
                    <a:pt x="1234" y="624"/>
                  </a:cubicBezTo>
                  <a:cubicBezTo>
                    <a:pt x="1196" y="646"/>
                    <a:pt x="1153" y="664"/>
                    <a:pt x="1114" y="673"/>
                  </a:cubicBezTo>
                  <a:cubicBezTo>
                    <a:pt x="1103" y="676"/>
                    <a:pt x="1092" y="681"/>
                    <a:pt x="1082" y="688"/>
                  </a:cubicBezTo>
                  <a:cubicBezTo>
                    <a:pt x="1021" y="723"/>
                    <a:pt x="958" y="818"/>
                    <a:pt x="958" y="832"/>
                  </a:cubicBezTo>
                  <a:cubicBezTo>
                    <a:pt x="958" y="849"/>
                    <a:pt x="986" y="911"/>
                    <a:pt x="979" y="924"/>
                  </a:cubicBezTo>
                  <a:cubicBezTo>
                    <a:pt x="972" y="936"/>
                    <a:pt x="993" y="999"/>
                    <a:pt x="1032" y="1015"/>
                  </a:cubicBezTo>
                  <a:cubicBezTo>
                    <a:pt x="1070" y="1032"/>
                    <a:pt x="1137" y="1028"/>
                    <a:pt x="1141" y="1003"/>
                  </a:cubicBezTo>
                  <a:cubicBezTo>
                    <a:pt x="1142" y="997"/>
                    <a:pt x="1146" y="989"/>
                    <a:pt x="1151" y="981"/>
                  </a:cubicBezTo>
                  <a:cubicBezTo>
                    <a:pt x="1155" y="981"/>
                    <a:pt x="1155" y="981"/>
                    <a:pt x="1155" y="981"/>
                  </a:cubicBezTo>
                  <a:cubicBezTo>
                    <a:pt x="1162" y="970"/>
                    <a:pt x="1172" y="958"/>
                    <a:pt x="1182" y="951"/>
                  </a:cubicBezTo>
                  <a:cubicBezTo>
                    <a:pt x="1192" y="946"/>
                    <a:pt x="1200" y="948"/>
                    <a:pt x="1201" y="961"/>
                  </a:cubicBezTo>
                  <a:cubicBezTo>
                    <a:pt x="1204" y="999"/>
                    <a:pt x="1239" y="1057"/>
                    <a:pt x="1232" y="1082"/>
                  </a:cubicBezTo>
                  <a:cubicBezTo>
                    <a:pt x="1225" y="1107"/>
                    <a:pt x="1232" y="1132"/>
                    <a:pt x="1257" y="1128"/>
                  </a:cubicBezTo>
                  <a:cubicBezTo>
                    <a:pt x="1282" y="1123"/>
                    <a:pt x="1412" y="1090"/>
                    <a:pt x="1412" y="1090"/>
                  </a:cubicBezTo>
                  <a:cubicBezTo>
                    <a:pt x="1412" y="1090"/>
                    <a:pt x="1416" y="1088"/>
                    <a:pt x="1422" y="1084"/>
                  </a:cubicBezTo>
                  <a:cubicBezTo>
                    <a:pt x="1430" y="1079"/>
                    <a:pt x="1456" y="1062"/>
                    <a:pt x="1454" y="1036"/>
                  </a:cubicBezTo>
                  <a:cubicBezTo>
                    <a:pt x="1447" y="1036"/>
                    <a:pt x="1447" y="1036"/>
                    <a:pt x="1447" y="1036"/>
                  </a:cubicBezTo>
                  <a:cubicBezTo>
                    <a:pt x="1444" y="1019"/>
                    <a:pt x="1456" y="999"/>
                    <a:pt x="1470" y="981"/>
                  </a:cubicBezTo>
                  <a:cubicBezTo>
                    <a:pt x="1473" y="981"/>
                    <a:pt x="1473" y="981"/>
                    <a:pt x="1473" y="981"/>
                  </a:cubicBezTo>
                  <a:cubicBezTo>
                    <a:pt x="1487" y="963"/>
                    <a:pt x="1505" y="947"/>
                    <a:pt x="1510" y="940"/>
                  </a:cubicBezTo>
                  <a:cubicBezTo>
                    <a:pt x="1516" y="934"/>
                    <a:pt x="1529" y="916"/>
                    <a:pt x="1534" y="899"/>
                  </a:cubicBezTo>
                  <a:cubicBezTo>
                    <a:pt x="1528" y="899"/>
                    <a:pt x="1528" y="899"/>
                    <a:pt x="1528" y="899"/>
                  </a:cubicBezTo>
                  <a:cubicBezTo>
                    <a:pt x="1530" y="885"/>
                    <a:pt x="1526" y="872"/>
                    <a:pt x="1507" y="865"/>
                  </a:cubicBezTo>
                  <a:cubicBezTo>
                    <a:pt x="1485" y="858"/>
                    <a:pt x="1466" y="852"/>
                    <a:pt x="1457" y="844"/>
                  </a:cubicBezTo>
                  <a:cubicBezTo>
                    <a:pt x="1469" y="844"/>
                    <a:pt x="1469" y="844"/>
                    <a:pt x="1469" y="844"/>
                  </a:cubicBezTo>
                  <a:cubicBezTo>
                    <a:pt x="1453" y="834"/>
                    <a:pt x="1452" y="821"/>
                    <a:pt x="1482" y="790"/>
                  </a:cubicBezTo>
                  <a:cubicBezTo>
                    <a:pt x="1487" y="786"/>
                    <a:pt x="1491" y="782"/>
                    <a:pt x="1496" y="779"/>
                  </a:cubicBezTo>
                  <a:cubicBezTo>
                    <a:pt x="1535" y="757"/>
                    <a:pt x="1566" y="784"/>
                    <a:pt x="1620" y="720"/>
                  </a:cubicBezTo>
                  <a:cubicBezTo>
                    <a:pt x="1624" y="715"/>
                    <a:pt x="1627" y="711"/>
                    <a:pt x="1630" y="707"/>
                  </a:cubicBezTo>
                  <a:cubicBezTo>
                    <a:pt x="1633" y="707"/>
                    <a:pt x="1633" y="707"/>
                    <a:pt x="1633" y="707"/>
                  </a:cubicBezTo>
                  <a:cubicBezTo>
                    <a:pt x="1668" y="659"/>
                    <a:pt x="1645" y="636"/>
                    <a:pt x="1651" y="624"/>
                  </a:cubicBezTo>
                  <a:cubicBezTo>
                    <a:pt x="1648" y="624"/>
                    <a:pt x="1648" y="624"/>
                    <a:pt x="1648" y="624"/>
                  </a:cubicBezTo>
                  <a:cubicBezTo>
                    <a:pt x="1653" y="622"/>
                    <a:pt x="1660" y="621"/>
                    <a:pt x="1673" y="620"/>
                  </a:cubicBezTo>
                  <a:cubicBezTo>
                    <a:pt x="1739" y="616"/>
                    <a:pt x="1810" y="612"/>
                    <a:pt x="1796" y="637"/>
                  </a:cubicBezTo>
                  <a:cubicBezTo>
                    <a:pt x="1787" y="652"/>
                    <a:pt x="1753" y="678"/>
                    <a:pt x="1717" y="702"/>
                  </a:cubicBezTo>
                  <a:cubicBezTo>
                    <a:pt x="1716" y="704"/>
                    <a:pt x="1714" y="705"/>
                    <a:pt x="1712" y="706"/>
                  </a:cubicBezTo>
                  <a:cubicBezTo>
                    <a:pt x="1692" y="719"/>
                    <a:pt x="1671" y="732"/>
                    <a:pt x="1655" y="741"/>
                  </a:cubicBezTo>
                  <a:cubicBezTo>
                    <a:pt x="1609" y="766"/>
                    <a:pt x="1616" y="811"/>
                    <a:pt x="1634" y="836"/>
                  </a:cubicBezTo>
                  <a:cubicBezTo>
                    <a:pt x="1651" y="861"/>
                    <a:pt x="1658" y="920"/>
                    <a:pt x="1690" y="911"/>
                  </a:cubicBezTo>
                  <a:cubicBezTo>
                    <a:pt x="1722" y="903"/>
                    <a:pt x="1761" y="874"/>
                    <a:pt x="1796" y="878"/>
                  </a:cubicBezTo>
                  <a:cubicBezTo>
                    <a:pt x="1831" y="882"/>
                    <a:pt x="1901" y="874"/>
                    <a:pt x="1912" y="874"/>
                  </a:cubicBezTo>
                  <a:cubicBezTo>
                    <a:pt x="1922" y="874"/>
                    <a:pt x="1962" y="921"/>
                    <a:pt x="1949" y="936"/>
                  </a:cubicBezTo>
                  <a:cubicBezTo>
                    <a:pt x="1921" y="944"/>
                    <a:pt x="1886" y="940"/>
                    <a:pt x="1827" y="944"/>
                  </a:cubicBezTo>
                  <a:cubicBezTo>
                    <a:pt x="1770" y="948"/>
                    <a:pt x="1708" y="949"/>
                    <a:pt x="1701" y="959"/>
                  </a:cubicBezTo>
                  <a:cubicBezTo>
                    <a:pt x="1697" y="961"/>
                    <a:pt x="1694" y="963"/>
                    <a:pt x="1694" y="965"/>
                  </a:cubicBezTo>
                  <a:cubicBezTo>
                    <a:pt x="1694" y="978"/>
                    <a:pt x="1775" y="1007"/>
                    <a:pt x="1746" y="1028"/>
                  </a:cubicBezTo>
                  <a:cubicBezTo>
                    <a:pt x="1718" y="1048"/>
                    <a:pt x="1690" y="1024"/>
                    <a:pt x="1655" y="1019"/>
                  </a:cubicBezTo>
                  <a:cubicBezTo>
                    <a:pt x="1620" y="1015"/>
                    <a:pt x="1599" y="1073"/>
                    <a:pt x="1588" y="1107"/>
                  </a:cubicBezTo>
                  <a:cubicBezTo>
                    <a:pt x="1581" y="1130"/>
                    <a:pt x="1591" y="1164"/>
                    <a:pt x="1582" y="1176"/>
                  </a:cubicBezTo>
                  <a:cubicBezTo>
                    <a:pt x="1577" y="1178"/>
                    <a:pt x="1570" y="1177"/>
                    <a:pt x="1559" y="1173"/>
                  </a:cubicBezTo>
                  <a:cubicBezTo>
                    <a:pt x="1540" y="1173"/>
                    <a:pt x="1540" y="1173"/>
                    <a:pt x="1540" y="1173"/>
                  </a:cubicBezTo>
                  <a:cubicBezTo>
                    <a:pt x="1494" y="1158"/>
                    <a:pt x="1460" y="1157"/>
                    <a:pt x="1447" y="1165"/>
                  </a:cubicBezTo>
                  <a:cubicBezTo>
                    <a:pt x="1433" y="1173"/>
                    <a:pt x="1407" y="1158"/>
                    <a:pt x="1372" y="1170"/>
                  </a:cubicBezTo>
                  <a:cubicBezTo>
                    <a:pt x="1369" y="1171"/>
                    <a:pt x="1366" y="1172"/>
                    <a:pt x="1363" y="1173"/>
                  </a:cubicBezTo>
                  <a:cubicBezTo>
                    <a:pt x="1356" y="1173"/>
                    <a:pt x="1356" y="1173"/>
                    <a:pt x="1356" y="1173"/>
                  </a:cubicBezTo>
                  <a:cubicBezTo>
                    <a:pt x="1339" y="1178"/>
                    <a:pt x="1329" y="1177"/>
                    <a:pt x="1295" y="1177"/>
                  </a:cubicBezTo>
                  <a:cubicBezTo>
                    <a:pt x="1250" y="1177"/>
                    <a:pt x="1250" y="1177"/>
                    <a:pt x="1250" y="1177"/>
                  </a:cubicBezTo>
                  <a:cubicBezTo>
                    <a:pt x="1221" y="1182"/>
                    <a:pt x="1221" y="1182"/>
                    <a:pt x="1221" y="1182"/>
                  </a:cubicBezTo>
                  <a:cubicBezTo>
                    <a:pt x="1221" y="1182"/>
                    <a:pt x="1217" y="1179"/>
                    <a:pt x="1212" y="1173"/>
                  </a:cubicBezTo>
                  <a:cubicBezTo>
                    <a:pt x="1202" y="1173"/>
                    <a:pt x="1202" y="1173"/>
                    <a:pt x="1202" y="1173"/>
                  </a:cubicBezTo>
                  <a:cubicBezTo>
                    <a:pt x="1194" y="1164"/>
                    <a:pt x="1185" y="1150"/>
                    <a:pt x="1183" y="1132"/>
                  </a:cubicBezTo>
                  <a:cubicBezTo>
                    <a:pt x="1183" y="1127"/>
                    <a:pt x="1183" y="1123"/>
                    <a:pt x="1183" y="1118"/>
                  </a:cubicBezTo>
                  <a:cubicBezTo>
                    <a:pt x="1189" y="1118"/>
                    <a:pt x="1189" y="1118"/>
                    <a:pt x="1189" y="1118"/>
                  </a:cubicBezTo>
                  <a:cubicBezTo>
                    <a:pt x="1189" y="1088"/>
                    <a:pt x="1202" y="1056"/>
                    <a:pt x="1186" y="1048"/>
                  </a:cubicBezTo>
                  <a:cubicBezTo>
                    <a:pt x="1172" y="1042"/>
                    <a:pt x="1129" y="1049"/>
                    <a:pt x="1107" y="1064"/>
                  </a:cubicBezTo>
                  <a:cubicBezTo>
                    <a:pt x="1098" y="1069"/>
                    <a:pt x="1091" y="1075"/>
                    <a:pt x="1088" y="1082"/>
                  </a:cubicBezTo>
                  <a:cubicBezTo>
                    <a:pt x="1078" y="1107"/>
                    <a:pt x="1067" y="1153"/>
                    <a:pt x="1081" y="1173"/>
                  </a:cubicBezTo>
                  <a:cubicBezTo>
                    <a:pt x="1091" y="1188"/>
                    <a:pt x="1113" y="1211"/>
                    <a:pt x="1114" y="1221"/>
                  </a:cubicBezTo>
                  <a:cubicBezTo>
                    <a:pt x="1112" y="1221"/>
                    <a:pt x="1109" y="1220"/>
                    <a:pt x="1105" y="1219"/>
                  </a:cubicBezTo>
                  <a:cubicBezTo>
                    <a:pt x="1069" y="1207"/>
                    <a:pt x="1024" y="1203"/>
                    <a:pt x="995" y="1223"/>
                  </a:cubicBezTo>
                  <a:cubicBezTo>
                    <a:pt x="991" y="1225"/>
                    <a:pt x="986" y="1228"/>
                    <a:pt x="982" y="1232"/>
                  </a:cubicBezTo>
                  <a:cubicBezTo>
                    <a:pt x="954" y="1256"/>
                    <a:pt x="905" y="1310"/>
                    <a:pt x="905" y="1310"/>
                  </a:cubicBezTo>
                  <a:cubicBezTo>
                    <a:pt x="883" y="1310"/>
                    <a:pt x="883" y="1310"/>
                    <a:pt x="883" y="1310"/>
                  </a:cubicBezTo>
                  <a:cubicBezTo>
                    <a:pt x="864" y="1314"/>
                    <a:pt x="842" y="1319"/>
                    <a:pt x="831" y="1328"/>
                  </a:cubicBezTo>
                  <a:cubicBezTo>
                    <a:pt x="830" y="1328"/>
                    <a:pt x="830" y="1329"/>
                    <a:pt x="830" y="1329"/>
                  </a:cubicBezTo>
                  <a:cubicBezTo>
                    <a:pt x="830" y="1329"/>
                    <a:pt x="829" y="1329"/>
                    <a:pt x="829" y="1329"/>
                  </a:cubicBezTo>
                  <a:cubicBezTo>
                    <a:pt x="822" y="1333"/>
                    <a:pt x="817" y="1338"/>
                    <a:pt x="817" y="1344"/>
                  </a:cubicBezTo>
                  <a:cubicBezTo>
                    <a:pt x="817" y="1369"/>
                    <a:pt x="817" y="1402"/>
                    <a:pt x="785" y="1406"/>
                  </a:cubicBezTo>
                  <a:cubicBezTo>
                    <a:pt x="754" y="1410"/>
                    <a:pt x="711" y="1423"/>
                    <a:pt x="669" y="1431"/>
                  </a:cubicBezTo>
                  <a:cubicBezTo>
                    <a:pt x="650" y="1435"/>
                    <a:pt x="640" y="1441"/>
                    <a:pt x="631" y="1448"/>
                  </a:cubicBezTo>
                  <a:cubicBezTo>
                    <a:pt x="630" y="1448"/>
                    <a:pt x="630" y="1448"/>
                    <a:pt x="630" y="1448"/>
                  </a:cubicBezTo>
                  <a:cubicBezTo>
                    <a:pt x="621" y="1453"/>
                    <a:pt x="609" y="1458"/>
                    <a:pt x="588" y="1460"/>
                  </a:cubicBezTo>
                  <a:cubicBezTo>
                    <a:pt x="569" y="1462"/>
                    <a:pt x="556" y="1467"/>
                    <a:pt x="550" y="1472"/>
                  </a:cubicBezTo>
                  <a:cubicBezTo>
                    <a:pt x="532" y="1481"/>
                    <a:pt x="538" y="1496"/>
                    <a:pt x="571" y="1502"/>
                  </a:cubicBezTo>
                  <a:cubicBezTo>
                    <a:pt x="616" y="1510"/>
                    <a:pt x="687" y="1544"/>
                    <a:pt x="690" y="1581"/>
                  </a:cubicBezTo>
                  <a:cubicBezTo>
                    <a:pt x="694" y="1618"/>
                    <a:pt x="687" y="1660"/>
                    <a:pt x="669" y="1697"/>
                  </a:cubicBezTo>
                  <a:cubicBezTo>
                    <a:pt x="657" y="1723"/>
                    <a:pt x="585" y="1706"/>
                    <a:pt x="542" y="1706"/>
                  </a:cubicBezTo>
                  <a:cubicBezTo>
                    <a:pt x="500" y="1706"/>
                    <a:pt x="416" y="1689"/>
                    <a:pt x="380" y="1706"/>
                  </a:cubicBezTo>
                  <a:cubicBezTo>
                    <a:pt x="345" y="1722"/>
                    <a:pt x="352" y="1806"/>
                    <a:pt x="363" y="1843"/>
                  </a:cubicBezTo>
                  <a:cubicBezTo>
                    <a:pt x="373" y="1880"/>
                    <a:pt x="359" y="1901"/>
                    <a:pt x="345" y="1914"/>
                  </a:cubicBezTo>
                  <a:cubicBezTo>
                    <a:pt x="331" y="1926"/>
                    <a:pt x="328" y="1964"/>
                    <a:pt x="345" y="1980"/>
                  </a:cubicBezTo>
                  <a:cubicBezTo>
                    <a:pt x="363" y="1997"/>
                    <a:pt x="377" y="2034"/>
                    <a:pt x="391" y="2039"/>
                  </a:cubicBezTo>
                  <a:cubicBezTo>
                    <a:pt x="405" y="2043"/>
                    <a:pt x="451" y="2026"/>
                    <a:pt x="468" y="2047"/>
                  </a:cubicBezTo>
                  <a:cubicBezTo>
                    <a:pt x="486" y="2068"/>
                    <a:pt x="504" y="2118"/>
                    <a:pt x="514" y="2105"/>
                  </a:cubicBezTo>
                  <a:cubicBezTo>
                    <a:pt x="518" y="2100"/>
                    <a:pt x="523" y="2090"/>
                    <a:pt x="528" y="2079"/>
                  </a:cubicBezTo>
                  <a:cubicBezTo>
                    <a:pt x="532" y="2079"/>
                    <a:pt x="532" y="2079"/>
                    <a:pt x="532" y="2079"/>
                  </a:cubicBezTo>
                  <a:cubicBezTo>
                    <a:pt x="537" y="2068"/>
                    <a:pt x="543" y="2056"/>
                    <a:pt x="549" y="2050"/>
                  </a:cubicBezTo>
                  <a:cubicBezTo>
                    <a:pt x="551" y="2049"/>
                    <a:pt x="554" y="2049"/>
                    <a:pt x="556" y="2051"/>
                  </a:cubicBezTo>
                  <a:cubicBezTo>
                    <a:pt x="574" y="2063"/>
                    <a:pt x="616" y="2047"/>
                    <a:pt x="648" y="2043"/>
                  </a:cubicBezTo>
                  <a:cubicBezTo>
                    <a:pt x="656" y="2042"/>
                    <a:pt x="663" y="2038"/>
                    <a:pt x="670" y="2033"/>
                  </a:cubicBezTo>
                  <a:cubicBezTo>
                    <a:pt x="684" y="2025"/>
                    <a:pt x="695" y="2011"/>
                    <a:pt x="708" y="1997"/>
                  </a:cubicBezTo>
                  <a:cubicBezTo>
                    <a:pt x="706" y="1997"/>
                    <a:pt x="706" y="1997"/>
                    <a:pt x="706" y="1997"/>
                  </a:cubicBezTo>
                  <a:cubicBezTo>
                    <a:pt x="713" y="1989"/>
                    <a:pt x="720" y="1982"/>
                    <a:pt x="729" y="1976"/>
                  </a:cubicBezTo>
                  <a:cubicBezTo>
                    <a:pt x="755" y="1959"/>
                    <a:pt x="748" y="1956"/>
                    <a:pt x="739" y="1942"/>
                  </a:cubicBezTo>
                  <a:cubicBezTo>
                    <a:pt x="748" y="1942"/>
                    <a:pt x="748" y="1942"/>
                    <a:pt x="748" y="1942"/>
                  </a:cubicBezTo>
                  <a:cubicBezTo>
                    <a:pt x="745" y="1938"/>
                    <a:pt x="742" y="1933"/>
                    <a:pt x="739" y="1926"/>
                  </a:cubicBezTo>
                  <a:cubicBezTo>
                    <a:pt x="730" y="1906"/>
                    <a:pt x="757" y="1883"/>
                    <a:pt x="780" y="1859"/>
                  </a:cubicBezTo>
                  <a:cubicBezTo>
                    <a:pt x="778" y="1859"/>
                    <a:pt x="778" y="1859"/>
                    <a:pt x="778" y="1859"/>
                  </a:cubicBezTo>
                  <a:cubicBezTo>
                    <a:pt x="782" y="1855"/>
                    <a:pt x="785" y="1851"/>
                    <a:pt x="789" y="1847"/>
                  </a:cubicBezTo>
                  <a:cubicBezTo>
                    <a:pt x="813" y="1818"/>
                    <a:pt x="859" y="1843"/>
                    <a:pt x="870" y="1810"/>
                  </a:cubicBezTo>
                  <a:cubicBezTo>
                    <a:pt x="870" y="1808"/>
                    <a:pt x="871" y="1806"/>
                    <a:pt x="871" y="1804"/>
                  </a:cubicBezTo>
                  <a:cubicBezTo>
                    <a:pt x="877" y="1804"/>
                    <a:pt x="877" y="1804"/>
                    <a:pt x="877" y="1804"/>
                  </a:cubicBezTo>
                  <a:cubicBezTo>
                    <a:pt x="885" y="1778"/>
                    <a:pt x="889" y="1737"/>
                    <a:pt x="905" y="1723"/>
                  </a:cubicBezTo>
                  <a:cubicBezTo>
                    <a:pt x="907" y="1723"/>
                    <a:pt x="909" y="1722"/>
                    <a:pt x="912" y="1722"/>
                  </a:cubicBezTo>
                  <a:cubicBezTo>
                    <a:pt x="940" y="1727"/>
                    <a:pt x="979" y="1747"/>
                    <a:pt x="1004" y="1747"/>
                  </a:cubicBezTo>
                  <a:cubicBezTo>
                    <a:pt x="1015" y="1747"/>
                    <a:pt x="1034" y="1737"/>
                    <a:pt x="1051" y="1725"/>
                  </a:cubicBezTo>
                  <a:cubicBezTo>
                    <a:pt x="1053" y="1724"/>
                    <a:pt x="1054" y="1723"/>
                    <a:pt x="1055" y="1722"/>
                  </a:cubicBezTo>
                  <a:cubicBezTo>
                    <a:pt x="1055" y="1722"/>
                    <a:pt x="1055" y="1722"/>
                    <a:pt x="1055" y="1722"/>
                  </a:cubicBezTo>
                  <a:cubicBezTo>
                    <a:pt x="1072" y="1710"/>
                    <a:pt x="1088" y="1697"/>
                    <a:pt x="1095" y="1693"/>
                  </a:cubicBezTo>
                  <a:cubicBezTo>
                    <a:pt x="1109" y="1685"/>
                    <a:pt x="1162" y="1689"/>
                    <a:pt x="1169" y="1727"/>
                  </a:cubicBezTo>
                  <a:cubicBezTo>
                    <a:pt x="1176" y="1764"/>
                    <a:pt x="1236" y="1810"/>
                    <a:pt x="1250" y="1818"/>
                  </a:cubicBezTo>
                  <a:cubicBezTo>
                    <a:pt x="1264" y="1826"/>
                    <a:pt x="1356" y="1860"/>
                    <a:pt x="1370" y="1872"/>
                  </a:cubicBezTo>
                  <a:cubicBezTo>
                    <a:pt x="1384" y="1885"/>
                    <a:pt x="1405" y="1922"/>
                    <a:pt x="1412" y="1955"/>
                  </a:cubicBezTo>
                  <a:cubicBezTo>
                    <a:pt x="1418" y="1986"/>
                    <a:pt x="1454" y="2021"/>
                    <a:pt x="1463" y="2004"/>
                  </a:cubicBezTo>
                  <a:cubicBezTo>
                    <a:pt x="1467" y="2004"/>
                    <a:pt x="1469" y="2002"/>
                    <a:pt x="1471" y="1997"/>
                  </a:cubicBezTo>
                  <a:cubicBezTo>
                    <a:pt x="1465" y="1997"/>
                    <a:pt x="1465" y="1997"/>
                    <a:pt x="1465" y="1997"/>
                  </a:cubicBezTo>
                  <a:cubicBezTo>
                    <a:pt x="1465" y="1984"/>
                    <a:pt x="1460" y="1963"/>
                    <a:pt x="1455" y="1942"/>
                  </a:cubicBezTo>
                  <a:cubicBezTo>
                    <a:pt x="1463" y="1942"/>
                    <a:pt x="1463" y="1942"/>
                    <a:pt x="1463" y="1942"/>
                  </a:cubicBezTo>
                  <a:cubicBezTo>
                    <a:pt x="1456" y="1917"/>
                    <a:pt x="1450" y="1891"/>
                    <a:pt x="1454" y="1881"/>
                  </a:cubicBezTo>
                  <a:cubicBezTo>
                    <a:pt x="1454" y="1881"/>
                    <a:pt x="1454" y="1880"/>
                    <a:pt x="1454" y="1880"/>
                  </a:cubicBezTo>
                  <a:cubicBezTo>
                    <a:pt x="1479" y="1885"/>
                    <a:pt x="1507" y="1872"/>
                    <a:pt x="1507" y="1872"/>
                  </a:cubicBezTo>
                  <a:cubicBezTo>
                    <a:pt x="1507" y="1872"/>
                    <a:pt x="1506" y="1871"/>
                    <a:pt x="1506" y="1871"/>
                  </a:cubicBezTo>
                  <a:cubicBezTo>
                    <a:pt x="1511" y="1869"/>
                    <a:pt x="1514" y="1868"/>
                    <a:pt x="1514" y="1868"/>
                  </a:cubicBezTo>
                  <a:cubicBezTo>
                    <a:pt x="1514" y="1868"/>
                    <a:pt x="1510" y="1865"/>
                    <a:pt x="1503" y="1859"/>
                  </a:cubicBezTo>
                  <a:cubicBezTo>
                    <a:pt x="1491" y="1859"/>
                    <a:pt x="1491" y="1859"/>
                    <a:pt x="1491" y="1859"/>
                  </a:cubicBezTo>
                  <a:cubicBezTo>
                    <a:pt x="1470" y="1843"/>
                    <a:pt x="1433" y="1814"/>
                    <a:pt x="1415" y="1806"/>
                  </a:cubicBezTo>
                  <a:cubicBezTo>
                    <a:pt x="1415" y="1805"/>
                    <a:pt x="1414" y="1805"/>
                    <a:pt x="1413" y="1804"/>
                  </a:cubicBezTo>
                  <a:cubicBezTo>
                    <a:pt x="1427" y="1804"/>
                    <a:pt x="1427" y="1804"/>
                    <a:pt x="1427" y="1804"/>
                  </a:cubicBezTo>
                  <a:cubicBezTo>
                    <a:pt x="1426" y="1803"/>
                    <a:pt x="1424" y="1802"/>
                    <a:pt x="1422" y="1801"/>
                  </a:cubicBezTo>
                  <a:cubicBezTo>
                    <a:pt x="1398" y="1789"/>
                    <a:pt x="1352" y="1764"/>
                    <a:pt x="1331" y="1722"/>
                  </a:cubicBezTo>
                  <a:cubicBezTo>
                    <a:pt x="1331" y="1722"/>
                    <a:pt x="1331" y="1722"/>
                    <a:pt x="1331" y="1722"/>
                  </a:cubicBezTo>
                  <a:cubicBezTo>
                    <a:pt x="1321" y="1722"/>
                    <a:pt x="1321" y="1722"/>
                    <a:pt x="1321" y="1722"/>
                  </a:cubicBezTo>
                  <a:cubicBezTo>
                    <a:pt x="1306" y="1697"/>
                    <a:pt x="1280" y="1684"/>
                    <a:pt x="1265" y="1667"/>
                  </a:cubicBezTo>
                  <a:cubicBezTo>
                    <a:pt x="1276" y="1667"/>
                    <a:pt x="1276" y="1667"/>
                    <a:pt x="1276" y="1667"/>
                  </a:cubicBezTo>
                  <a:cubicBezTo>
                    <a:pt x="1266" y="1657"/>
                    <a:pt x="1259" y="1646"/>
                    <a:pt x="1260" y="1631"/>
                  </a:cubicBezTo>
                  <a:cubicBezTo>
                    <a:pt x="1261" y="1623"/>
                    <a:pt x="1263" y="1618"/>
                    <a:pt x="1267" y="1615"/>
                  </a:cubicBezTo>
                  <a:cubicBezTo>
                    <a:pt x="1284" y="1609"/>
                    <a:pt x="1315" y="1628"/>
                    <a:pt x="1335" y="1652"/>
                  </a:cubicBezTo>
                  <a:cubicBezTo>
                    <a:pt x="1363" y="1685"/>
                    <a:pt x="1433" y="1731"/>
                    <a:pt x="1458" y="1760"/>
                  </a:cubicBezTo>
                  <a:cubicBezTo>
                    <a:pt x="1482" y="1789"/>
                    <a:pt x="1521" y="1801"/>
                    <a:pt x="1532" y="1839"/>
                  </a:cubicBezTo>
                  <a:cubicBezTo>
                    <a:pt x="1542" y="1876"/>
                    <a:pt x="1574" y="1918"/>
                    <a:pt x="1584" y="1934"/>
                  </a:cubicBezTo>
                  <a:cubicBezTo>
                    <a:pt x="1595" y="1951"/>
                    <a:pt x="1601" y="2084"/>
                    <a:pt x="1612" y="2104"/>
                  </a:cubicBezTo>
                  <a:cubicBezTo>
                    <a:pt x="1618" y="2117"/>
                    <a:pt x="1643" y="2099"/>
                    <a:pt x="1666" y="2079"/>
                  </a:cubicBezTo>
                  <a:cubicBezTo>
                    <a:pt x="1667" y="2079"/>
                    <a:pt x="1667" y="2079"/>
                    <a:pt x="1667" y="2079"/>
                  </a:cubicBezTo>
                  <a:cubicBezTo>
                    <a:pt x="1685" y="2064"/>
                    <a:pt x="1703" y="2046"/>
                    <a:pt x="1711" y="2038"/>
                  </a:cubicBezTo>
                  <a:cubicBezTo>
                    <a:pt x="1725" y="2025"/>
                    <a:pt x="1748" y="2017"/>
                    <a:pt x="1758" y="1997"/>
                  </a:cubicBezTo>
                  <a:cubicBezTo>
                    <a:pt x="1754" y="1997"/>
                    <a:pt x="1754" y="1997"/>
                    <a:pt x="1754" y="1997"/>
                  </a:cubicBezTo>
                  <a:cubicBezTo>
                    <a:pt x="1755" y="1993"/>
                    <a:pt x="1757" y="1989"/>
                    <a:pt x="1757" y="1984"/>
                  </a:cubicBezTo>
                  <a:cubicBezTo>
                    <a:pt x="1759" y="1968"/>
                    <a:pt x="1748" y="1954"/>
                    <a:pt x="1736" y="1942"/>
                  </a:cubicBezTo>
                  <a:cubicBezTo>
                    <a:pt x="1747" y="1942"/>
                    <a:pt x="1747" y="1942"/>
                    <a:pt x="1747" y="1942"/>
                  </a:cubicBezTo>
                  <a:cubicBezTo>
                    <a:pt x="1733" y="1928"/>
                    <a:pt x="1715" y="1916"/>
                    <a:pt x="1707" y="1909"/>
                  </a:cubicBezTo>
                  <a:cubicBezTo>
                    <a:pt x="1703" y="1905"/>
                    <a:pt x="1705" y="1901"/>
                    <a:pt x="1711" y="1897"/>
                  </a:cubicBezTo>
                  <a:cubicBezTo>
                    <a:pt x="1722" y="1891"/>
                    <a:pt x="1737" y="1884"/>
                    <a:pt x="1748" y="1877"/>
                  </a:cubicBezTo>
                  <a:cubicBezTo>
                    <a:pt x="1752" y="1874"/>
                    <a:pt x="1757" y="1871"/>
                    <a:pt x="1760" y="1868"/>
                  </a:cubicBezTo>
                  <a:cubicBezTo>
                    <a:pt x="1763" y="1865"/>
                    <a:pt x="1766" y="1862"/>
                    <a:pt x="1769" y="1859"/>
                  </a:cubicBezTo>
                  <a:cubicBezTo>
                    <a:pt x="1768" y="1859"/>
                    <a:pt x="1768" y="1859"/>
                    <a:pt x="1768" y="1859"/>
                  </a:cubicBezTo>
                  <a:cubicBezTo>
                    <a:pt x="1785" y="1845"/>
                    <a:pt x="1806" y="1832"/>
                    <a:pt x="1817" y="1851"/>
                  </a:cubicBezTo>
                  <a:cubicBezTo>
                    <a:pt x="1831" y="1876"/>
                    <a:pt x="1824" y="1976"/>
                    <a:pt x="1831" y="1993"/>
                  </a:cubicBezTo>
                  <a:cubicBezTo>
                    <a:pt x="1838" y="2009"/>
                    <a:pt x="1908" y="2034"/>
                    <a:pt x="1923" y="2055"/>
                  </a:cubicBezTo>
                  <a:cubicBezTo>
                    <a:pt x="1937" y="2076"/>
                    <a:pt x="1996" y="2084"/>
                    <a:pt x="2007" y="2072"/>
                  </a:cubicBezTo>
                  <a:cubicBezTo>
                    <a:pt x="2018" y="2059"/>
                    <a:pt x="2074" y="2080"/>
                    <a:pt x="2088" y="2084"/>
                  </a:cubicBezTo>
                  <a:cubicBezTo>
                    <a:pt x="2102" y="2088"/>
                    <a:pt x="2144" y="2076"/>
                    <a:pt x="2172" y="2068"/>
                  </a:cubicBezTo>
                  <a:cubicBezTo>
                    <a:pt x="2201" y="2059"/>
                    <a:pt x="2229" y="2034"/>
                    <a:pt x="2225" y="2088"/>
                  </a:cubicBezTo>
                  <a:cubicBezTo>
                    <a:pt x="2222" y="2143"/>
                    <a:pt x="2211" y="2226"/>
                    <a:pt x="2176" y="2267"/>
                  </a:cubicBezTo>
                  <a:cubicBezTo>
                    <a:pt x="2152" y="2295"/>
                    <a:pt x="2151" y="2314"/>
                    <a:pt x="2141" y="2323"/>
                  </a:cubicBezTo>
                  <a:cubicBezTo>
                    <a:pt x="2138" y="2325"/>
                    <a:pt x="2133" y="2325"/>
                    <a:pt x="2126" y="2325"/>
                  </a:cubicBezTo>
                  <a:cubicBezTo>
                    <a:pt x="2110" y="2325"/>
                    <a:pt x="2095" y="2326"/>
                    <a:pt x="2083" y="2332"/>
                  </a:cubicBezTo>
                  <a:cubicBezTo>
                    <a:pt x="2072" y="2311"/>
                    <a:pt x="2056" y="2294"/>
                    <a:pt x="2035" y="2300"/>
                  </a:cubicBezTo>
                  <a:cubicBezTo>
                    <a:pt x="2004" y="2309"/>
                    <a:pt x="1969" y="2312"/>
                    <a:pt x="1938" y="2332"/>
                  </a:cubicBezTo>
                  <a:cubicBezTo>
                    <a:pt x="1923" y="2340"/>
                    <a:pt x="1910" y="2350"/>
                    <a:pt x="1898" y="2367"/>
                  </a:cubicBezTo>
                  <a:cubicBezTo>
                    <a:pt x="1882" y="2389"/>
                    <a:pt x="1871" y="2402"/>
                    <a:pt x="1862" y="2408"/>
                  </a:cubicBezTo>
                  <a:cubicBezTo>
                    <a:pt x="1861" y="2408"/>
                    <a:pt x="1861" y="2408"/>
                    <a:pt x="1861" y="2408"/>
                  </a:cubicBezTo>
                  <a:cubicBezTo>
                    <a:pt x="1859" y="2409"/>
                    <a:pt x="1857" y="2409"/>
                    <a:pt x="1855" y="2408"/>
                  </a:cubicBezTo>
                  <a:cubicBezTo>
                    <a:pt x="1844" y="2408"/>
                    <a:pt x="1844" y="2408"/>
                    <a:pt x="1844" y="2408"/>
                  </a:cubicBezTo>
                  <a:cubicBezTo>
                    <a:pt x="1843" y="2407"/>
                    <a:pt x="1842" y="2406"/>
                    <a:pt x="1841" y="2405"/>
                  </a:cubicBezTo>
                  <a:cubicBezTo>
                    <a:pt x="1838" y="2396"/>
                    <a:pt x="1862" y="2375"/>
                    <a:pt x="1887" y="2353"/>
                  </a:cubicBezTo>
                  <a:cubicBezTo>
                    <a:pt x="1889" y="2353"/>
                    <a:pt x="1889" y="2353"/>
                    <a:pt x="1889" y="2353"/>
                  </a:cubicBezTo>
                  <a:cubicBezTo>
                    <a:pt x="1915" y="2329"/>
                    <a:pt x="1944" y="2303"/>
                    <a:pt x="1936" y="2292"/>
                  </a:cubicBezTo>
                  <a:cubicBezTo>
                    <a:pt x="1922" y="2271"/>
                    <a:pt x="1837" y="2280"/>
                    <a:pt x="1792" y="2280"/>
                  </a:cubicBezTo>
                  <a:cubicBezTo>
                    <a:pt x="1777" y="2280"/>
                    <a:pt x="1763" y="2276"/>
                    <a:pt x="1750" y="2271"/>
                  </a:cubicBezTo>
                  <a:cubicBezTo>
                    <a:pt x="1732" y="2271"/>
                    <a:pt x="1732" y="2271"/>
                    <a:pt x="1732" y="2271"/>
                  </a:cubicBezTo>
                  <a:cubicBezTo>
                    <a:pt x="1708" y="2261"/>
                    <a:pt x="1686" y="2247"/>
                    <a:pt x="1666" y="2242"/>
                  </a:cubicBezTo>
                  <a:cubicBezTo>
                    <a:pt x="1630" y="2234"/>
                    <a:pt x="1613" y="2319"/>
                    <a:pt x="1578" y="2361"/>
                  </a:cubicBezTo>
                  <a:cubicBezTo>
                    <a:pt x="1555" y="2389"/>
                    <a:pt x="1523" y="2369"/>
                    <a:pt x="1496" y="2353"/>
                  </a:cubicBezTo>
                  <a:cubicBezTo>
                    <a:pt x="1510" y="2353"/>
                    <a:pt x="1510" y="2353"/>
                    <a:pt x="1510" y="2353"/>
                  </a:cubicBezTo>
                  <a:cubicBezTo>
                    <a:pt x="1493" y="2344"/>
                    <a:pt x="1477" y="2334"/>
                    <a:pt x="1464" y="2334"/>
                  </a:cubicBezTo>
                  <a:cubicBezTo>
                    <a:pt x="1433" y="2334"/>
                    <a:pt x="1373" y="2280"/>
                    <a:pt x="1373" y="2280"/>
                  </a:cubicBezTo>
                  <a:cubicBezTo>
                    <a:pt x="1373" y="2280"/>
                    <a:pt x="1365" y="2276"/>
                    <a:pt x="1354" y="2271"/>
                  </a:cubicBezTo>
                  <a:cubicBezTo>
                    <a:pt x="1337" y="2271"/>
                    <a:pt x="1337" y="2271"/>
                    <a:pt x="1337" y="2271"/>
                  </a:cubicBezTo>
                  <a:cubicBezTo>
                    <a:pt x="1318" y="2263"/>
                    <a:pt x="1295" y="2255"/>
                    <a:pt x="1282" y="2255"/>
                  </a:cubicBezTo>
                  <a:cubicBezTo>
                    <a:pt x="1266" y="2255"/>
                    <a:pt x="1239" y="2232"/>
                    <a:pt x="1219" y="2216"/>
                  </a:cubicBezTo>
                  <a:cubicBezTo>
                    <a:pt x="1231" y="2216"/>
                    <a:pt x="1231" y="2216"/>
                    <a:pt x="1231" y="2216"/>
                  </a:cubicBezTo>
                  <a:cubicBezTo>
                    <a:pt x="1218" y="2206"/>
                    <a:pt x="1206" y="2196"/>
                    <a:pt x="1200" y="2196"/>
                  </a:cubicBezTo>
                  <a:cubicBezTo>
                    <a:pt x="1187" y="2196"/>
                    <a:pt x="1152" y="2162"/>
                    <a:pt x="1173" y="2145"/>
                  </a:cubicBezTo>
                  <a:cubicBezTo>
                    <a:pt x="1202" y="2133"/>
                    <a:pt x="1254" y="2161"/>
                    <a:pt x="1230" y="2079"/>
                  </a:cubicBezTo>
                  <a:cubicBezTo>
                    <a:pt x="1238" y="2079"/>
                    <a:pt x="1238" y="2079"/>
                    <a:pt x="1238" y="2079"/>
                  </a:cubicBezTo>
                  <a:cubicBezTo>
                    <a:pt x="1237" y="2076"/>
                    <a:pt x="1237" y="2074"/>
                    <a:pt x="1236" y="2071"/>
                  </a:cubicBezTo>
                  <a:cubicBezTo>
                    <a:pt x="1208" y="1979"/>
                    <a:pt x="1112" y="1997"/>
                    <a:pt x="1088" y="2009"/>
                  </a:cubicBezTo>
                  <a:cubicBezTo>
                    <a:pt x="1063" y="2022"/>
                    <a:pt x="887" y="2018"/>
                    <a:pt x="873" y="2018"/>
                  </a:cubicBezTo>
                  <a:cubicBezTo>
                    <a:pt x="859" y="2018"/>
                    <a:pt x="757" y="2059"/>
                    <a:pt x="725" y="2076"/>
                  </a:cubicBezTo>
                  <a:cubicBezTo>
                    <a:pt x="723" y="2077"/>
                    <a:pt x="721" y="2078"/>
                    <a:pt x="719" y="2079"/>
                  </a:cubicBezTo>
                  <a:cubicBezTo>
                    <a:pt x="721" y="2079"/>
                    <a:pt x="721" y="2079"/>
                    <a:pt x="721" y="2079"/>
                  </a:cubicBezTo>
                  <a:cubicBezTo>
                    <a:pt x="720" y="2079"/>
                    <a:pt x="719" y="2080"/>
                    <a:pt x="718" y="2080"/>
                  </a:cubicBezTo>
                  <a:cubicBezTo>
                    <a:pt x="687" y="2097"/>
                    <a:pt x="630" y="2118"/>
                    <a:pt x="616" y="2126"/>
                  </a:cubicBezTo>
                  <a:cubicBezTo>
                    <a:pt x="602" y="2134"/>
                    <a:pt x="528" y="2109"/>
                    <a:pt x="497" y="2130"/>
                  </a:cubicBezTo>
                  <a:cubicBezTo>
                    <a:pt x="464" y="2152"/>
                    <a:pt x="433" y="2183"/>
                    <a:pt x="416" y="2195"/>
                  </a:cubicBezTo>
                  <a:cubicBezTo>
                    <a:pt x="414" y="2196"/>
                    <a:pt x="413" y="2196"/>
                    <a:pt x="412" y="2196"/>
                  </a:cubicBezTo>
                  <a:cubicBezTo>
                    <a:pt x="409" y="2196"/>
                    <a:pt x="405" y="2198"/>
                    <a:pt x="401" y="2202"/>
                  </a:cubicBezTo>
                  <a:cubicBezTo>
                    <a:pt x="387" y="2208"/>
                    <a:pt x="360" y="2237"/>
                    <a:pt x="342" y="2292"/>
                  </a:cubicBezTo>
                  <a:cubicBezTo>
                    <a:pt x="321" y="2353"/>
                    <a:pt x="343" y="2405"/>
                    <a:pt x="310" y="2427"/>
                  </a:cubicBezTo>
                  <a:cubicBezTo>
                    <a:pt x="280" y="2442"/>
                    <a:pt x="230" y="2464"/>
                    <a:pt x="195" y="2487"/>
                  </a:cubicBezTo>
                  <a:cubicBezTo>
                    <a:pt x="179" y="2497"/>
                    <a:pt x="165" y="2507"/>
                    <a:pt x="156" y="2517"/>
                  </a:cubicBezTo>
                  <a:cubicBezTo>
                    <a:pt x="128" y="2550"/>
                    <a:pt x="106" y="2679"/>
                    <a:pt x="71" y="2733"/>
                  </a:cubicBezTo>
                  <a:cubicBezTo>
                    <a:pt x="35" y="2787"/>
                    <a:pt x="71" y="2837"/>
                    <a:pt x="78" y="2870"/>
                  </a:cubicBezTo>
                  <a:cubicBezTo>
                    <a:pt x="85" y="2904"/>
                    <a:pt x="109" y="2966"/>
                    <a:pt x="71" y="3024"/>
                  </a:cubicBezTo>
                  <a:cubicBezTo>
                    <a:pt x="39" y="3072"/>
                    <a:pt x="35" y="3100"/>
                    <a:pt x="26" y="3111"/>
                  </a:cubicBezTo>
                  <a:cubicBezTo>
                    <a:pt x="25" y="3111"/>
                    <a:pt x="25" y="3111"/>
                    <a:pt x="24" y="3112"/>
                  </a:cubicBezTo>
                  <a:cubicBezTo>
                    <a:pt x="22" y="3112"/>
                    <a:pt x="20" y="3113"/>
                    <a:pt x="20" y="3115"/>
                  </a:cubicBezTo>
                  <a:cubicBezTo>
                    <a:pt x="19" y="3115"/>
                    <a:pt x="19" y="3116"/>
                    <a:pt x="18" y="3116"/>
                  </a:cubicBezTo>
                  <a:cubicBezTo>
                    <a:pt x="0" y="3120"/>
                    <a:pt x="35" y="3137"/>
                    <a:pt x="42" y="3178"/>
                  </a:cubicBezTo>
                  <a:cubicBezTo>
                    <a:pt x="49" y="3220"/>
                    <a:pt x="11" y="3261"/>
                    <a:pt x="78" y="3299"/>
                  </a:cubicBezTo>
                  <a:cubicBezTo>
                    <a:pt x="145" y="3336"/>
                    <a:pt x="206" y="3338"/>
                    <a:pt x="223" y="3388"/>
                  </a:cubicBezTo>
                  <a:cubicBezTo>
                    <a:pt x="241" y="3438"/>
                    <a:pt x="299" y="3553"/>
                    <a:pt x="299" y="3553"/>
                  </a:cubicBezTo>
                  <a:cubicBezTo>
                    <a:pt x="299" y="3553"/>
                    <a:pt x="363" y="3619"/>
                    <a:pt x="395" y="3648"/>
                  </a:cubicBezTo>
                  <a:cubicBezTo>
                    <a:pt x="414" y="3666"/>
                    <a:pt x="425" y="3667"/>
                    <a:pt x="433" y="3658"/>
                  </a:cubicBezTo>
                  <a:cubicBezTo>
                    <a:pt x="438" y="3656"/>
                    <a:pt x="442" y="3651"/>
                    <a:pt x="445" y="3643"/>
                  </a:cubicBezTo>
                  <a:cubicBezTo>
                    <a:pt x="440" y="3643"/>
                    <a:pt x="440" y="3643"/>
                    <a:pt x="440" y="3643"/>
                  </a:cubicBezTo>
                  <a:cubicBezTo>
                    <a:pt x="442" y="3640"/>
                    <a:pt x="443" y="3636"/>
                    <a:pt x="444" y="3632"/>
                  </a:cubicBezTo>
                  <a:cubicBezTo>
                    <a:pt x="451" y="3603"/>
                    <a:pt x="493" y="3598"/>
                    <a:pt x="542" y="3598"/>
                  </a:cubicBezTo>
                  <a:cubicBezTo>
                    <a:pt x="592" y="3598"/>
                    <a:pt x="627" y="3611"/>
                    <a:pt x="676" y="3603"/>
                  </a:cubicBezTo>
                  <a:cubicBezTo>
                    <a:pt x="689" y="3600"/>
                    <a:pt x="702" y="3593"/>
                    <a:pt x="713" y="3584"/>
                  </a:cubicBezTo>
                  <a:cubicBezTo>
                    <a:pt x="743" y="3563"/>
                    <a:pt x="766" y="3526"/>
                    <a:pt x="780" y="3514"/>
                  </a:cubicBezTo>
                  <a:cubicBezTo>
                    <a:pt x="800" y="3505"/>
                    <a:pt x="871" y="3495"/>
                    <a:pt x="916" y="3528"/>
                  </a:cubicBezTo>
                  <a:cubicBezTo>
                    <a:pt x="961" y="3561"/>
                    <a:pt x="954" y="3607"/>
                    <a:pt x="979" y="3636"/>
                  </a:cubicBezTo>
                  <a:cubicBezTo>
                    <a:pt x="1004" y="3665"/>
                    <a:pt x="1046" y="3648"/>
                    <a:pt x="1078" y="3619"/>
                  </a:cubicBezTo>
                  <a:cubicBezTo>
                    <a:pt x="1109" y="3590"/>
                    <a:pt x="1095" y="3603"/>
                    <a:pt x="1134" y="3627"/>
                  </a:cubicBezTo>
                  <a:cubicBezTo>
                    <a:pt x="1173" y="3653"/>
                    <a:pt x="1190" y="3677"/>
                    <a:pt x="1155" y="3715"/>
                  </a:cubicBezTo>
                  <a:cubicBezTo>
                    <a:pt x="1120" y="3752"/>
                    <a:pt x="1141" y="3810"/>
                    <a:pt x="1120" y="3869"/>
                  </a:cubicBezTo>
                  <a:cubicBezTo>
                    <a:pt x="1099" y="3927"/>
                    <a:pt x="1140" y="3927"/>
                    <a:pt x="1179" y="3952"/>
                  </a:cubicBezTo>
                  <a:cubicBezTo>
                    <a:pt x="1217" y="3977"/>
                    <a:pt x="1250" y="4139"/>
                    <a:pt x="1271" y="4168"/>
                  </a:cubicBezTo>
                  <a:cubicBezTo>
                    <a:pt x="1292" y="4197"/>
                    <a:pt x="1264" y="4281"/>
                    <a:pt x="1289" y="4331"/>
                  </a:cubicBezTo>
                  <a:cubicBezTo>
                    <a:pt x="1314" y="4380"/>
                    <a:pt x="1325" y="4411"/>
                    <a:pt x="1296" y="4436"/>
                  </a:cubicBezTo>
                  <a:cubicBezTo>
                    <a:pt x="1268" y="4461"/>
                    <a:pt x="1232" y="4509"/>
                    <a:pt x="1229" y="4593"/>
                  </a:cubicBezTo>
                  <a:cubicBezTo>
                    <a:pt x="1225" y="4676"/>
                    <a:pt x="1243" y="4734"/>
                    <a:pt x="1257" y="4763"/>
                  </a:cubicBezTo>
                  <a:cubicBezTo>
                    <a:pt x="1271" y="4792"/>
                    <a:pt x="1306" y="4871"/>
                    <a:pt x="1324" y="4900"/>
                  </a:cubicBezTo>
                  <a:cubicBezTo>
                    <a:pt x="1342" y="4929"/>
                    <a:pt x="1402" y="4983"/>
                    <a:pt x="1406" y="5029"/>
                  </a:cubicBezTo>
                  <a:cubicBezTo>
                    <a:pt x="1409" y="5075"/>
                    <a:pt x="1359" y="5146"/>
                    <a:pt x="1377" y="5171"/>
                  </a:cubicBezTo>
                  <a:cubicBezTo>
                    <a:pt x="1394" y="5196"/>
                    <a:pt x="1405" y="5233"/>
                    <a:pt x="1437" y="5266"/>
                  </a:cubicBezTo>
                  <a:cubicBezTo>
                    <a:pt x="1468" y="5300"/>
                    <a:pt x="1479" y="5370"/>
                    <a:pt x="1479" y="5370"/>
                  </a:cubicBezTo>
                  <a:cubicBezTo>
                    <a:pt x="1479" y="5370"/>
                    <a:pt x="1489" y="5399"/>
                    <a:pt x="1493" y="5445"/>
                  </a:cubicBezTo>
                  <a:cubicBezTo>
                    <a:pt x="1496" y="5491"/>
                    <a:pt x="1500" y="5520"/>
                    <a:pt x="1535" y="5541"/>
                  </a:cubicBezTo>
                  <a:cubicBezTo>
                    <a:pt x="1570" y="5562"/>
                    <a:pt x="1595" y="5566"/>
                    <a:pt x="1613" y="5545"/>
                  </a:cubicBezTo>
                  <a:cubicBezTo>
                    <a:pt x="1630" y="5524"/>
                    <a:pt x="1705" y="5483"/>
                    <a:pt x="1751" y="5488"/>
                  </a:cubicBezTo>
                  <a:cubicBezTo>
                    <a:pt x="1793" y="5491"/>
                    <a:pt x="1852" y="5498"/>
                    <a:pt x="1896" y="5470"/>
                  </a:cubicBezTo>
                  <a:cubicBezTo>
                    <a:pt x="1903" y="5466"/>
                    <a:pt x="1909" y="5462"/>
                    <a:pt x="1915" y="5458"/>
                  </a:cubicBezTo>
                  <a:cubicBezTo>
                    <a:pt x="1924" y="5450"/>
                    <a:pt x="1935" y="5439"/>
                    <a:pt x="1945" y="5427"/>
                  </a:cubicBezTo>
                  <a:cubicBezTo>
                    <a:pt x="1943" y="5427"/>
                    <a:pt x="1943" y="5427"/>
                    <a:pt x="1943" y="5427"/>
                  </a:cubicBezTo>
                  <a:cubicBezTo>
                    <a:pt x="1958" y="5411"/>
                    <a:pt x="1973" y="5391"/>
                    <a:pt x="1987" y="5373"/>
                  </a:cubicBezTo>
                  <a:cubicBezTo>
                    <a:pt x="1991" y="5373"/>
                    <a:pt x="1991" y="5373"/>
                    <a:pt x="1991" y="5373"/>
                  </a:cubicBezTo>
                  <a:cubicBezTo>
                    <a:pt x="2016" y="5339"/>
                    <a:pt x="2040" y="5306"/>
                    <a:pt x="2052" y="5291"/>
                  </a:cubicBezTo>
                  <a:cubicBezTo>
                    <a:pt x="2053" y="5291"/>
                    <a:pt x="2053" y="5290"/>
                    <a:pt x="2053" y="5290"/>
                  </a:cubicBezTo>
                  <a:cubicBezTo>
                    <a:pt x="2050" y="5290"/>
                    <a:pt x="2050" y="5290"/>
                    <a:pt x="2050" y="5290"/>
                  </a:cubicBezTo>
                  <a:cubicBezTo>
                    <a:pt x="2064" y="5275"/>
                    <a:pt x="2082" y="5255"/>
                    <a:pt x="2097" y="5235"/>
                  </a:cubicBezTo>
                  <a:cubicBezTo>
                    <a:pt x="2101" y="5235"/>
                    <a:pt x="2101" y="5235"/>
                    <a:pt x="2101" y="5235"/>
                  </a:cubicBezTo>
                  <a:cubicBezTo>
                    <a:pt x="2117" y="5214"/>
                    <a:pt x="2130" y="5192"/>
                    <a:pt x="2126" y="5175"/>
                  </a:cubicBezTo>
                  <a:cubicBezTo>
                    <a:pt x="2125" y="5168"/>
                    <a:pt x="2122" y="5161"/>
                    <a:pt x="2119" y="5153"/>
                  </a:cubicBezTo>
                  <a:cubicBezTo>
                    <a:pt x="2110" y="5153"/>
                    <a:pt x="2110" y="5153"/>
                    <a:pt x="2110" y="5153"/>
                  </a:cubicBezTo>
                  <a:cubicBezTo>
                    <a:pt x="2102" y="5134"/>
                    <a:pt x="2092" y="5114"/>
                    <a:pt x="2091" y="5098"/>
                  </a:cubicBezTo>
                  <a:cubicBezTo>
                    <a:pt x="2098" y="5098"/>
                    <a:pt x="2098" y="5098"/>
                    <a:pt x="2098" y="5098"/>
                  </a:cubicBezTo>
                  <a:cubicBezTo>
                    <a:pt x="2096" y="5088"/>
                    <a:pt x="2097" y="5079"/>
                    <a:pt x="2104" y="5074"/>
                  </a:cubicBezTo>
                  <a:cubicBezTo>
                    <a:pt x="2129" y="5061"/>
                    <a:pt x="2190" y="5050"/>
                    <a:pt x="2214" y="5034"/>
                  </a:cubicBezTo>
                  <a:cubicBezTo>
                    <a:pt x="2224" y="5029"/>
                    <a:pt x="2231" y="5023"/>
                    <a:pt x="2232" y="5017"/>
                  </a:cubicBezTo>
                  <a:cubicBezTo>
                    <a:pt x="2232" y="5016"/>
                    <a:pt x="2232" y="5016"/>
                    <a:pt x="2232" y="5016"/>
                  </a:cubicBezTo>
                  <a:cubicBezTo>
                    <a:pt x="2225" y="5016"/>
                    <a:pt x="2225" y="5016"/>
                    <a:pt x="2225" y="5016"/>
                  </a:cubicBezTo>
                  <a:cubicBezTo>
                    <a:pt x="2225" y="5004"/>
                    <a:pt x="2222" y="4983"/>
                    <a:pt x="2217" y="4961"/>
                  </a:cubicBezTo>
                  <a:cubicBezTo>
                    <a:pt x="2225" y="4961"/>
                    <a:pt x="2225" y="4961"/>
                    <a:pt x="2225" y="4961"/>
                  </a:cubicBezTo>
                  <a:cubicBezTo>
                    <a:pt x="2218" y="4931"/>
                    <a:pt x="2209" y="4897"/>
                    <a:pt x="2204" y="4879"/>
                  </a:cubicBezTo>
                  <a:cubicBezTo>
                    <a:pt x="2196" y="4879"/>
                    <a:pt x="2196" y="4879"/>
                    <a:pt x="2196" y="4879"/>
                  </a:cubicBezTo>
                  <a:cubicBezTo>
                    <a:pt x="2195" y="4876"/>
                    <a:pt x="2194" y="4873"/>
                    <a:pt x="2194" y="4871"/>
                  </a:cubicBezTo>
                  <a:cubicBezTo>
                    <a:pt x="2190" y="4860"/>
                    <a:pt x="2196" y="4843"/>
                    <a:pt x="2206" y="4824"/>
                  </a:cubicBezTo>
                  <a:cubicBezTo>
                    <a:pt x="2211" y="4824"/>
                    <a:pt x="2211" y="4824"/>
                    <a:pt x="2211" y="4824"/>
                  </a:cubicBezTo>
                  <a:cubicBezTo>
                    <a:pt x="2219" y="4807"/>
                    <a:pt x="2232" y="4787"/>
                    <a:pt x="2246" y="4767"/>
                  </a:cubicBezTo>
                  <a:cubicBezTo>
                    <a:pt x="2252" y="4759"/>
                    <a:pt x="2259" y="4750"/>
                    <a:pt x="2268" y="4741"/>
                  </a:cubicBezTo>
                  <a:cubicBezTo>
                    <a:pt x="2265" y="4741"/>
                    <a:pt x="2265" y="4741"/>
                    <a:pt x="2265" y="4741"/>
                  </a:cubicBezTo>
                  <a:cubicBezTo>
                    <a:pt x="2285" y="4721"/>
                    <a:pt x="2310" y="4701"/>
                    <a:pt x="2327" y="4686"/>
                  </a:cubicBezTo>
                  <a:cubicBezTo>
                    <a:pt x="2329" y="4686"/>
                    <a:pt x="2329" y="4686"/>
                    <a:pt x="2329" y="4686"/>
                  </a:cubicBezTo>
                  <a:cubicBezTo>
                    <a:pt x="2341" y="4676"/>
                    <a:pt x="2351" y="4668"/>
                    <a:pt x="2355" y="4663"/>
                  </a:cubicBezTo>
                  <a:cubicBezTo>
                    <a:pt x="2363" y="4653"/>
                    <a:pt x="2386" y="4631"/>
                    <a:pt x="2406" y="4604"/>
                  </a:cubicBezTo>
                  <a:cubicBezTo>
                    <a:pt x="2402" y="4604"/>
                    <a:pt x="2402" y="4604"/>
                    <a:pt x="2402" y="4604"/>
                  </a:cubicBezTo>
                  <a:cubicBezTo>
                    <a:pt x="2414" y="4587"/>
                    <a:pt x="2424" y="4568"/>
                    <a:pt x="2428" y="4549"/>
                  </a:cubicBezTo>
                  <a:cubicBezTo>
                    <a:pt x="2433" y="4549"/>
                    <a:pt x="2433" y="4549"/>
                    <a:pt x="2433" y="4549"/>
                  </a:cubicBezTo>
                  <a:cubicBezTo>
                    <a:pt x="2434" y="4546"/>
                    <a:pt x="2436" y="4542"/>
                    <a:pt x="2436" y="4538"/>
                  </a:cubicBezTo>
                  <a:cubicBezTo>
                    <a:pt x="2439" y="4515"/>
                    <a:pt x="2437" y="4490"/>
                    <a:pt x="2435" y="4467"/>
                  </a:cubicBezTo>
                  <a:cubicBezTo>
                    <a:pt x="2428" y="4467"/>
                    <a:pt x="2428" y="4467"/>
                    <a:pt x="2428" y="4467"/>
                  </a:cubicBezTo>
                  <a:cubicBezTo>
                    <a:pt x="2426" y="4446"/>
                    <a:pt x="2424" y="4427"/>
                    <a:pt x="2425" y="4412"/>
                  </a:cubicBezTo>
                  <a:cubicBezTo>
                    <a:pt x="2431" y="4412"/>
                    <a:pt x="2431" y="4412"/>
                    <a:pt x="2431" y="4412"/>
                  </a:cubicBezTo>
                  <a:cubicBezTo>
                    <a:pt x="2432" y="4403"/>
                    <a:pt x="2433" y="4395"/>
                    <a:pt x="2436" y="4389"/>
                  </a:cubicBezTo>
                  <a:cubicBezTo>
                    <a:pt x="2446" y="4368"/>
                    <a:pt x="2443" y="4350"/>
                    <a:pt x="2430" y="4330"/>
                  </a:cubicBezTo>
                  <a:cubicBezTo>
                    <a:pt x="2421" y="4330"/>
                    <a:pt x="2421" y="4330"/>
                    <a:pt x="2421" y="4330"/>
                  </a:cubicBezTo>
                  <a:cubicBezTo>
                    <a:pt x="2416" y="4322"/>
                    <a:pt x="2409" y="4314"/>
                    <a:pt x="2401" y="4306"/>
                  </a:cubicBezTo>
                  <a:cubicBezTo>
                    <a:pt x="2394" y="4297"/>
                    <a:pt x="2388" y="4287"/>
                    <a:pt x="2383" y="4275"/>
                  </a:cubicBezTo>
                  <a:cubicBezTo>
                    <a:pt x="2391" y="4275"/>
                    <a:pt x="2391" y="4275"/>
                    <a:pt x="2391" y="4275"/>
                  </a:cubicBezTo>
                  <a:cubicBezTo>
                    <a:pt x="2379" y="4247"/>
                    <a:pt x="2374" y="4214"/>
                    <a:pt x="2369" y="4192"/>
                  </a:cubicBezTo>
                  <a:cubicBezTo>
                    <a:pt x="2362" y="4192"/>
                    <a:pt x="2362" y="4192"/>
                    <a:pt x="2362" y="4192"/>
                  </a:cubicBezTo>
                  <a:cubicBezTo>
                    <a:pt x="2360" y="4187"/>
                    <a:pt x="2359" y="4182"/>
                    <a:pt x="2357" y="4179"/>
                  </a:cubicBezTo>
                  <a:cubicBezTo>
                    <a:pt x="2353" y="4173"/>
                    <a:pt x="2353" y="4157"/>
                    <a:pt x="2355" y="4137"/>
                  </a:cubicBezTo>
                  <a:cubicBezTo>
                    <a:pt x="2361" y="4137"/>
                    <a:pt x="2361" y="4137"/>
                    <a:pt x="2361" y="4137"/>
                  </a:cubicBezTo>
                  <a:cubicBezTo>
                    <a:pt x="2363" y="4110"/>
                    <a:pt x="2369" y="4075"/>
                    <a:pt x="2378" y="4055"/>
                  </a:cubicBezTo>
                  <a:cubicBezTo>
                    <a:pt x="2374" y="4055"/>
                    <a:pt x="2374" y="4055"/>
                    <a:pt x="2374" y="4055"/>
                  </a:cubicBezTo>
                  <a:cubicBezTo>
                    <a:pt x="2377" y="4049"/>
                    <a:pt x="2380" y="4045"/>
                    <a:pt x="2384" y="4043"/>
                  </a:cubicBezTo>
                  <a:cubicBezTo>
                    <a:pt x="2393" y="4040"/>
                    <a:pt x="2407" y="4022"/>
                    <a:pt x="2422" y="4000"/>
                  </a:cubicBezTo>
                  <a:cubicBezTo>
                    <a:pt x="2425" y="4000"/>
                    <a:pt x="2425" y="4000"/>
                    <a:pt x="2425" y="4000"/>
                  </a:cubicBezTo>
                  <a:cubicBezTo>
                    <a:pt x="2444" y="3974"/>
                    <a:pt x="2464" y="3941"/>
                    <a:pt x="2480" y="3918"/>
                  </a:cubicBezTo>
                  <a:cubicBezTo>
                    <a:pt x="2476" y="3918"/>
                    <a:pt x="2476" y="3918"/>
                    <a:pt x="2476" y="3918"/>
                  </a:cubicBezTo>
                  <a:cubicBezTo>
                    <a:pt x="2477" y="3917"/>
                    <a:pt x="2478" y="3916"/>
                    <a:pt x="2479" y="3915"/>
                  </a:cubicBezTo>
                  <a:cubicBezTo>
                    <a:pt x="2487" y="3903"/>
                    <a:pt x="2501" y="3884"/>
                    <a:pt x="2517" y="3863"/>
                  </a:cubicBezTo>
                  <a:cubicBezTo>
                    <a:pt x="2520" y="3863"/>
                    <a:pt x="2520" y="3863"/>
                    <a:pt x="2520" y="3863"/>
                  </a:cubicBezTo>
                  <a:cubicBezTo>
                    <a:pt x="2541" y="3835"/>
                    <a:pt x="2566" y="3804"/>
                    <a:pt x="2589" y="3781"/>
                  </a:cubicBezTo>
                  <a:cubicBezTo>
                    <a:pt x="2586" y="3781"/>
                    <a:pt x="2586" y="3781"/>
                    <a:pt x="2586" y="3781"/>
                  </a:cubicBezTo>
                  <a:cubicBezTo>
                    <a:pt x="2602" y="3766"/>
                    <a:pt x="2616" y="3755"/>
                    <a:pt x="2627" y="3752"/>
                  </a:cubicBezTo>
                  <a:cubicBezTo>
                    <a:pt x="2640" y="3749"/>
                    <a:pt x="2656" y="3739"/>
                    <a:pt x="2672" y="3726"/>
                  </a:cubicBezTo>
                  <a:cubicBezTo>
                    <a:pt x="2673" y="3726"/>
                    <a:pt x="2673" y="3726"/>
                    <a:pt x="2673" y="3726"/>
                  </a:cubicBezTo>
                  <a:cubicBezTo>
                    <a:pt x="2701" y="3703"/>
                    <a:pt x="2727" y="3669"/>
                    <a:pt x="2733" y="3643"/>
                  </a:cubicBezTo>
                  <a:cubicBezTo>
                    <a:pt x="2728" y="3643"/>
                    <a:pt x="2728" y="3643"/>
                    <a:pt x="2728" y="3643"/>
                  </a:cubicBezTo>
                  <a:cubicBezTo>
                    <a:pt x="2728" y="3642"/>
                    <a:pt x="2729" y="3641"/>
                    <a:pt x="2729" y="3640"/>
                  </a:cubicBezTo>
                  <a:cubicBezTo>
                    <a:pt x="2730" y="3629"/>
                    <a:pt x="2739" y="3611"/>
                    <a:pt x="2751" y="3588"/>
                  </a:cubicBezTo>
                  <a:cubicBezTo>
                    <a:pt x="2755" y="3588"/>
                    <a:pt x="2755" y="3588"/>
                    <a:pt x="2755" y="3588"/>
                  </a:cubicBezTo>
                  <a:cubicBezTo>
                    <a:pt x="2768" y="3563"/>
                    <a:pt x="2787" y="3534"/>
                    <a:pt x="2803" y="3506"/>
                  </a:cubicBezTo>
                  <a:cubicBezTo>
                    <a:pt x="2799" y="3506"/>
                    <a:pt x="2799" y="3506"/>
                    <a:pt x="2799" y="3506"/>
                  </a:cubicBezTo>
                  <a:cubicBezTo>
                    <a:pt x="2812" y="3485"/>
                    <a:pt x="2824" y="3466"/>
                    <a:pt x="2831" y="3451"/>
                  </a:cubicBezTo>
                  <a:cubicBezTo>
                    <a:pt x="2835" y="3451"/>
                    <a:pt x="2835" y="3451"/>
                    <a:pt x="2835" y="3451"/>
                  </a:cubicBezTo>
                  <a:cubicBezTo>
                    <a:pt x="2840" y="3441"/>
                    <a:pt x="2844" y="3433"/>
                    <a:pt x="2844" y="3428"/>
                  </a:cubicBezTo>
                  <a:cubicBezTo>
                    <a:pt x="2846" y="3417"/>
                    <a:pt x="2853" y="3394"/>
                    <a:pt x="2860" y="3369"/>
                  </a:cubicBezTo>
                  <a:cubicBezTo>
                    <a:pt x="2855" y="3369"/>
                    <a:pt x="2855" y="3369"/>
                    <a:pt x="2855" y="3369"/>
                  </a:cubicBezTo>
                  <a:cubicBezTo>
                    <a:pt x="2860" y="3350"/>
                    <a:pt x="2865" y="3331"/>
                    <a:pt x="2867" y="3314"/>
                  </a:cubicBezTo>
                  <a:cubicBezTo>
                    <a:pt x="2873" y="3314"/>
                    <a:pt x="2873" y="3314"/>
                    <a:pt x="2873" y="3314"/>
                  </a:cubicBezTo>
                  <a:cubicBezTo>
                    <a:pt x="2877" y="3292"/>
                    <a:pt x="2879" y="3274"/>
                    <a:pt x="2873" y="3265"/>
                  </a:cubicBezTo>
                  <a:cubicBezTo>
                    <a:pt x="2855" y="3240"/>
                    <a:pt x="2718" y="3303"/>
                    <a:pt x="2700" y="3311"/>
                  </a:cubicBezTo>
                  <a:cubicBezTo>
                    <a:pt x="2699" y="3312"/>
                    <a:pt x="2697" y="3313"/>
                    <a:pt x="2695" y="3314"/>
                  </a:cubicBezTo>
                  <a:cubicBezTo>
                    <a:pt x="2697" y="3314"/>
                    <a:pt x="2697" y="3314"/>
                    <a:pt x="2697" y="3314"/>
                  </a:cubicBezTo>
                  <a:cubicBezTo>
                    <a:pt x="2696" y="3315"/>
                    <a:pt x="2694" y="3315"/>
                    <a:pt x="2694" y="3315"/>
                  </a:cubicBezTo>
                  <a:cubicBezTo>
                    <a:pt x="2676" y="3324"/>
                    <a:pt x="2627" y="3357"/>
                    <a:pt x="2570" y="3353"/>
                  </a:cubicBezTo>
                  <a:cubicBezTo>
                    <a:pt x="2539" y="3351"/>
                    <a:pt x="2533" y="3333"/>
                    <a:pt x="2533" y="3314"/>
                  </a:cubicBezTo>
                  <a:cubicBezTo>
                    <a:pt x="2539" y="3314"/>
                    <a:pt x="2539" y="3314"/>
                    <a:pt x="2539" y="3314"/>
                  </a:cubicBezTo>
                  <a:cubicBezTo>
                    <a:pt x="2538" y="3297"/>
                    <a:pt x="2543" y="3278"/>
                    <a:pt x="2542" y="3265"/>
                  </a:cubicBezTo>
                  <a:cubicBezTo>
                    <a:pt x="2541" y="3258"/>
                    <a:pt x="2535" y="3246"/>
                    <a:pt x="2528" y="3232"/>
                  </a:cubicBezTo>
                  <a:cubicBezTo>
                    <a:pt x="2519" y="3232"/>
                    <a:pt x="2519" y="3232"/>
                    <a:pt x="2519" y="3232"/>
                  </a:cubicBezTo>
                  <a:cubicBezTo>
                    <a:pt x="2509" y="3214"/>
                    <a:pt x="2497" y="3193"/>
                    <a:pt x="2485" y="3177"/>
                  </a:cubicBezTo>
                  <a:cubicBezTo>
                    <a:pt x="2495" y="3177"/>
                    <a:pt x="2495" y="3177"/>
                    <a:pt x="2495" y="3177"/>
                  </a:cubicBezTo>
                  <a:cubicBezTo>
                    <a:pt x="2482" y="3157"/>
                    <a:pt x="2470" y="3142"/>
                    <a:pt x="2464" y="3141"/>
                  </a:cubicBezTo>
                  <a:cubicBezTo>
                    <a:pt x="2456" y="3138"/>
                    <a:pt x="2438" y="3120"/>
                    <a:pt x="2421" y="3094"/>
                  </a:cubicBezTo>
                  <a:cubicBezTo>
                    <a:pt x="2411" y="3094"/>
                    <a:pt x="2411" y="3094"/>
                    <a:pt x="2411" y="3094"/>
                  </a:cubicBezTo>
                  <a:cubicBezTo>
                    <a:pt x="2400" y="3078"/>
                    <a:pt x="2390" y="3060"/>
                    <a:pt x="2384" y="3041"/>
                  </a:cubicBezTo>
                  <a:cubicBezTo>
                    <a:pt x="2383" y="3040"/>
                    <a:pt x="2383" y="3040"/>
                    <a:pt x="2383" y="3040"/>
                  </a:cubicBezTo>
                  <a:cubicBezTo>
                    <a:pt x="2391" y="3040"/>
                    <a:pt x="2391" y="3040"/>
                    <a:pt x="2391" y="3040"/>
                  </a:cubicBezTo>
                  <a:cubicBezTo>
                    <a:pt x="2391" y="3039"/>
                    <a:pt x="2391" y="3038"/>
                    <a:pt x="2390" y="3037"/>
                  </a:cubicBezTo>
                  <a:cubicBezTo>
                    <a:pt x="2379" y="3005"/>
                    <a:pt x="2346" y="2981"/>
                    <a:pt x="2316" y="2957"/>
                  </a:cubicBezTo>
                  <a:cubicBezTo>
                    <a:pt x="2304" y="2957"/>
                    <a:pt x="2304" y="2957"/>
                    <a:pt x="2304" y="2957"/>
                  </a:cubicBezTo>
                  <a:cubicBezTo>
                    <a:pt x="2288" y="2945"/>
                    <a:pt x="2274" y="2933"/>
                    <a:pt x="2264" y="2921"/>
                  </a:cubicBezTo>
                  <a:cubicBezTo>
                    <a:pt x="2261" y="2916"/>
                    <a:pt x="2258" y="2910"/>
                    <a:pt x="2256" y="2902"/>
                  </a:cubicBezTo>
                  <a:cubicBezTo>
                    <a:pt x="2264" y="2902"/>
                    <a:pt x="2264" y="2902"/>
                    <a:pt x="2264" y="2902"/>
                  </a:cubicBezTo>
                  <a:cubicBezTo>
                    <a:pt x="2258" y="2882"/>
                    <a:pt x="2258" y="2852"/>
                    <a:pt x="2258" y="2820"/>
                  </a:cubicBezTo>
                  <a:cubicBezTo>
                    <a:pt x="2252" y="2820"/>
                    <a:pt x="2252" y="2820"/>
                    <a:pt x="2252" y="2820"/>
                  </a:cubicBezTo>
                  <a:cubicBezTo>
                    <a:pt x="2252" y="2802"/>
                    <a:pt x="2252" y="2783"/>
                    <a:pt x="2251" y="2765"/>
                  </a:cubicBezTo>
                  <a:cubicBezTo>
                    <a:pt x="2258" y="2765"/>
                    <a:pt x="2258" y="2765"/>
                    <a:pt x="2258" y="2765"/>
                  </a:cubicBezTo>
                  <a:cubicBezTo>
                    <a:pt x="2257" y="2742"/>
                    <a:pt x="2254" y="2721"/>
                    <a:pt x="2246" y="2704"/>
                  </a:cubicBezTo>
                  <a:cubicBezTo>
                    <a:pt x="2243" y="2697"/>
                    <a:pt x="2240" y="2690"/>
                    <a:pt x="2237" y="2683"/>
                  </a:cubicBezTo>
                  <a:cubicBezTo>
                    <a:pt x="2228" y="2683"/>
                    <a:pt x="2228" y="2683"/>
                    <a:pt x="2228" y="2683"/>
                  </a:cubicBezTo>
                  <a:cubicBezTo>
                    <a:pt x="2220" y="2665"/>
                    <a:pt x="2213" y="2647"/>
                    <a:pt x="2205" y="2628"/>
                  </a:cubicBezTo>
                  <a:cubicBezTo>
                    <a:pt x="2213" y="2628"/>
                    <a:pt x="2213" y="2628"/>
                    <a:pt x="2213" y="2628"/>
                  </a:cubicBezTo>
                  <a:cubicBezTo>
                    <a:pt x="2202" y="2599"/>
                    <a:pt x="2191" y="2571"/>
                    <a:pt x="2181" y="2546"/>
                  </a:cubicBezTo>
                  <a:cubicBezTo>
                    <a:pt x="2172" y="2546"/>
                    <a:pt x="2172" y="2546"/>
                    <a:pt x="2172" y="2546"/>
                  </a:cubicBezTo>
                  <a:cubicBezTo>
                    <a:pt x="2169" y="2537"/>
                    <a:pt x="2165" y="2529"/>
                    <a:pt x="2162" y="2521"/>
                  </a:cubicBezTo>
                  <a:cubicBezTo>
                    <a:pt x="2157" y="2510"/>
                    <a:pt x="2152" y="2500"/>
                    <a:pt x="2147" y="2491"/>
                  </a:cubicBezTo>
                  <a:cubicBezTo>
                    <a:pt x="2156" y="2491"/>
                    <a:pt x="2156" y="2491"/>
                    <a:pt x="2156" y="2491"/>
                  </a:cubicBezTo>
                  <a:cubicBezTo>
                    <a:pt x="2154" y="2487"/>
                    <a:pt x="2152" y="2484"/>
                    <a:pt x="2151" y="2481"/>
                  </a:cubicBezTo>
                  <a:cubicBezTo>
                    <a:pt x="2183" y="2471"/>
                    <a:pt x="2224" y="2457"/>
                    <a:pt x="2229" y="2479"/>
                  </a:cubicBezTo>
                  <a:cubicBezTo>
                    <a:pt x="2236" y="2509"/>
                    <a:pt x="2275" y="2571"/>
                    <a:pt x="2282" y="2617"/>
                  </a:cubicBezTo>
                  <a:cubicBezTo>
                    <a:pt x="2289" y="2662"/>
                    <a:pt x="2327" y="2646"/>
                    <a:pt x="2331" y="2687"/>
                  </a:cubicBezTo>
                  <a:cubicBezTo>
                    <a:pt x="2334" y="2729"/>
                    <a:pt x="2370" y="2829"/>
                    <a:pt x="2384" y="2841"/>
                  </a:cubicBezTo>
                  <a:cubicBezTo>
                    <a:pt x="2398" y="2854"/>
                    <a:pt x="2461" y="2920"/>
                    <a:pt x="2472" y="2945"/>
                  </a:cubicBezTo>
                  <a:cubicBezTo>
                    <a:pt x="2482" y="2970"/>
                    <a:pt x="2496" y="3004"/>
                    <a:pt x="2507" y="3066"/>
                  </a:cubicBezTo>
                  <a:cubicBezTo>
                    <a:pt x="2517" y="3128"/>
                    <a:pt x="2528" y="3212"/>
                    <a:pt x="2556" y="3224"/>
                  </a:cubicBezTo>
                  <a:cubicBezTo>
                    <a:pt x="2584" y="3236"/>
                    <a:pt x="2679" y="3203"/>
                    <a:pt x="2697" y="3191"/>
                  </a:cubicBezTo>
                  <a:cubicBezTo>
                    <a:pt x="2715" y="3178"/>
                    <a:pt x="2831" y="3112"/>
                    <a:pt x="2873" y="3107"/>
                  </a:cubicBezTo>
                  <a:cubicBezTo>
                    <a:pt x="2915" y="3103"/>
                    <a:pt x="2922" y="3070"/>
                    <a:pt x="2975" y="3058"/>
                  </a:cubicBezTo>
                  <a:cubicBezTo>
                    <a:pt x="2997" y="3052"/>
                    <a:pt x="3017" y="3041"/>
                    <a:pt x="3035" y="3028"/>
                  </a:cubicBezTo>
                  <a:cubicBezTo>
                    <a:pt x="3062" y="3008"/>
                    <a:pt x="3086" y="2983"/>
                    <a:pt x="3108" y="2962"/>
                  </a:cubicBezTo>
                  <a:cubicBezTo>
                    <a:pt x="3110" y="2961"/>
                    <a:pt x="3111" y="2959"/>
                    <a:pt x="3113" y="2957"/>
                  </a:cubicBezTo>
                  <a:cubicBezTo>
                    <a:pt x="3110" y="2957"/>
                    <a:pt x="3110" y="2957"/>
                    <a:pt x="3110" y="2957"/>
                  </a:cubicBezTo>
                  <a:cubicBezTo>
                    <a:pt x="3123" y="2943"/>
                    <a:pt x="3137" y="2923"/>
                    <a:pt x="3149" y="2902"/>
                  </a:cubicBezTo>
                  <a:cubicBezTo>
                    <a:pt x="3153" y="2902"/>
                    <a:pt x="3153" y="2902"/>
                    <a:pt x="3153" y="2902"/>
                  </a:cubicBezTo>
                  <a:cubicBezTo>
                    <a:pt x="3172" y="2871"/>
                    <a:pt x="3189" y="2838"/>
                    <a:pt x="3198" y="2820"/>
                  </a:cubicBezTo>
                  <a:cubicBezTo>
                    <a:pt x="3194" y="2820"/>
                    <a:pt x="3194" y="2820"/>
                    <a:pt x="3194" y="2820"/>
                  </a:cubicBezTo>
                  <a:cubicBezTo>
                    <a:pt x="3204" y="2800"/>
                    <a:pt x="3223" y="2784"/>
                    <a:pt x="3228" y="2765"/>
                  </a:cubicBezTo>
                  <a:cubicBezTo>
                    <a:pt x="3234" y="2765"/>
                    <a:pt x="3234" y="2765"/>
                    <a:pt x="3234" y="2765"/>
                  </a:cubicBezTo>
                  <a:cubicBezTo>
                    <a:pt x="3237" y="2755"/>
                    <a:pt x="3238" y="2745"/>
                    <a:pt x="3232" y="2733"/>
                  </a:cubicBezTo>
                  <a:cubicBezTo>
                    <a:pt x="3224" y="2718"/>
                    <a:pt x="3204" y="2699"/>
                    <a:pt x="3182" y="2683"/>
                  </a:cubicBezTo>
                  <a:cubicBezTo>
                    <a:pt x="3169" y="2683"/>
                    <a:pt x="3169" y="2683"/>
                    <a:pt x="3169" y="2683"/>
                  </a:cubicBezTo>
                  <a:cubicBezTo>
                    <a:pt x="3145" y="2666"/>
                    <a:pt x="3119" y="2652"/>
                    <a:pt x="3105" y="2650"/>
                  </a:cubicBezTo>
                  <a:cubicBezTo>
                    <a:pt x="3094" y="2648"/>
                    <a:pt x="3088" y="2639"/>
                    <a:pt x="3084" y="2628"/>
                  </a:cubicBezTo>
                  <a:cubicBezTo>
                    <a:pt x="3092" y="2628"/>
                    <a:pt x="3092" y="2628"/>
                    <a:pt x="3092" y="2628"/>
                  </a:cubicBezTo>
                  <a:cubicBezTo>
                    <a:pt x="3084" y="2611"/>
                    <a:pt x="3081" y="2588"/>
                    <a:pt x="3070" y="2588"/>
                  </a:cubicBezTo>
                  <a:cubicBezTo>
                    <a:pt x="3065" y="2588"/>
                    <a:pt x="3062" y="2590"/>
                    <a:pt x="3060" y="2593"/>
                  </a:cubicBezTo>
                  <a:cubicBezTo>
                    <a:pt x="3046" y="2596"/>
                    <a:pt x="3046" y="2622"/>
                    <a:pt x="3014" y="2642"/>
                  </a:cubicBezTo>
                  <a:cubicBezTo>
                    <a:pt x="2994" y="2653"/>
                    <a:pt x="2974" y="2672"/>
                    <a:pt x="2956" y="2684"/>
                  </a:cubicBezTo>
                  <a:cubicBezTo>
                    <a:pt x="2945" y="2691"/>
                    <a:pt x="2934" y="2694"/>
                    <a:pt x="2925" y="2691"/>
                  </a:cubicBezTo>
                  <a:cubicBezTo>
                    <a:pt x="2919" y="2689"/>
                    <a:pt x="2917" y="2686"/>
                    <a:pt x="2915" y="2683"/>
                  </a:cubicBezTo>
                  <a:cubicBezTo>
                    <a:pt x="2908" y="2683"/>
                    <a:pt x="2908" y="2683"/>
                    <a:pt x="2908" y="2683"/>
                  </a:cubicBezTo>
                  <a:cubicBezTo>
                    <a:pt x="2908" y="2671"/>
                    <a:pt x="2913" y="2654"/>
                    <a:pt x="2887" y="2629"/>
                  </a:cubicBezTo>
                  <a:cubicBezTo>
                    <a:pt x="2887" y="2629"/>
                    <a:pt x="2886" y="2628"/>
                    <a:pt x="2886" y="2628"/>
                  </a:cubicBezTo>
                  <a:cubicBezTo>
                    <a:pt x="2896" y="2628"/>
                    <a:pt x="2896" y="2628"/>
                    <a:pt x="2896" y="2628"/>
                  </a:cubicBezTo>
                  <a:cubicBezTo>
                    <a:pt x="2895" y="2627"/>
                    <a:pt x="2895" y="2626"/>
                    <a:pt x="2894" y="2625"/>
                  </a:cubicBezTo>
                  <a:cubicBezTo>
                    <a:pt x="2855" y="2588"/>
                    <a:pt x="2841" y="2579"/>
                    <a:pt x="2841" y="2550"/>
                  </a:cubicBezTo>
                  <a:cubicBezTo>
                    <a:pt x="2841" y="2549"/>
                    <a:pt x="2840" y="2547"/>
                    <a:pt x="2840" y="2546"/>
                  </a:cubicBezTo>
                  <a:cubicBezTo>
                    <a:pt x="2832" y="2546"/>
                    <a:pt x="2832" y="2546"/>
                    <a:pt x="2832" y="2546"/>
                  </a:cubicBezTo>
                  <a:cubicBezTo>
                    <a:pt x="2826" y="2530"/>
                    <a:pt x="2808" y="2511"/>
                    <a:pt x="2789" y="2491"/>
                  </a:cubicBezTo>
                  <a:cubicBezTo>
                    <a:pt x="2800" y="2491"/>
                    <a:pt x="2800" y="2491"/>
                    <a:pt x="2800" y="2491"/>
                  </a:cubicBezTo>
                  <a:cubicBezTo>
                    <a:pt x="2780" y="2469"/>
                    <a:pt x="2760" y="2446"/>
                    <a:pt x="2756" y="2425"/>
                  </a:cubicBezTo>
                  <a:cubicBezTo>
                    <a:pt x="2755" y="2420"/>
                    <a:pt x="2756" y="2414"/>
                    <a:pt x="2757" y="2408"/>
                  </a:cubicBezTo>
                  <a:cubicBezTo>
                    <a:pt x="2752" y="2408"/>
                    <a:pt x="2752" y="2408"/>
                    <a:pt x="2752" y="2408"/>
                  </a:cubicBezTo>
                  <a:cubicBezTo>
                    <a:pt x="2762" y="2371"/>
                    <a:pt x="2806" y="2336"/>
                    <a:pt x="2820" y="2367"/>
                  </a:cubicBezTo>
                  <a:cubicBezTo>
                    <a:pt x="2838" y="2405"/>
                    <a:pt x="2852" y="2463"/>
                    <a:pt x="2898" y="2488"/>
                  </a:cubicBezTo>
                  <a:cubicBezTo>
                    <a:pt x="2943" y="2513"/>
                    <a:pt x="2986" y="2554"/>
                    <a:pt x="3007" y="2563"/>
                  </a:cubicBezTo>
                  <a:cubicBezTo>
                    <a:pt x="3028" y="2571"/>
                    <a:pt x="3081" y="2517"/>
                    <a:pt x="3098" y="2525"/>
                  </a:cubicBezTo>
                  <a:cubicBezTo>
                    <a:pt x="3116" y="2533"/>
                    <a:pt x="3151" y="2608"/>
                    <a:pt x="3183" y="2621"/>
                  </a:cubicBezTo>
                  <a:cubicBezTo>
                    <a:pt x="3215" y="2633"/>
                    <a:pt x="3320" y="2637"/>
                    <a:pt x="3338" y="2637"/>
                  </a:cubicBezTo>
                  <a:cubicBezTo>
                    <a:pt x="3354" y="2637"/>
                    <a:pt x="3416" y="2641"/>
                    <a:pt x="3438" y="2623"/>
                  </a:cubicBezTo>
                  <a:cubicBezTo>
                    <a:pt x="3443" y="2620"/>
                    <a:pt x="3448" y="2617"/>
                    <a:pt x="3450" y="2612"/>
                  </a:cubicBezTo>
                  <a:cubicBezTo>
                    <a:pt x="3455" y="2604"/>
                    <a:pt x="3459" y="2598"/>
                    <a:pt x="3464" y="2595"/>
                  </a:cubicBezTo>
                  <a:cubicBezTo>
                    <a:pt x="3470" y="2592"/>
                    <a:pt x="3477" y="2592"/>
                    <a:pt x="3486" y="2592"/>
                  </a:cubicBezTo>
                  <a:cubicBezTo>
                    <a:pt x="3503" y="2592"/>
                    <a:pt x="3535" y="2667"/>
                    <a:pt x="3560" y="2675"/>
                  </a:cubicBezTo>
                  <a:cubicBezTo>
                    <a:pt x="3584" y="2683"/>
                    <a:pt x="3630" y="2679"/>
                    <a:pt x="3626" y="2733"/>
                  </a:cubicBezTo>
                  <a:cubicBezTo>
                    <a:pt x="3623" y="2787"/>
                    <a:pt x="3648" y="2833"/>
                    <a:pt x="3672" y="2837"/>
                  </a:cubicBezTo>
                  <a:cubicBezTo>
                    <a:pt x="3679" y="2838"/>
                    <a:pt x="3689" y="2833"/>
                    <a:pt x="3699" y="2826"/>
                  </a:cubicBezTo>
                  <a:cubicBezTo>
                    <a:pt x="3702" y="2824"/>
                    <a:pt x="3705" y="2822"/>
                    <a:pt x="3709" y="2820"/>
                  </a:cubicBezTo>
                  <a:cubicBezTo>
                    <a:pt x="3708" y="2820"/>
                    <a:pt x="3708" y="2820"/>
                    <a:pt x="3708" y="2820"/>
                  </a:cubicBezTo>
                  <a:cubicBezTo>
                    <a:pt x="3731" y="2801"/>
                    <a:pt x="3753" y="2775"/>
                    <a:pt x="3753" y="2775"/>
                  </a:cubicBezTo>
                  <a:cubicBezTo>
                    <a:pt x="3753" y="2775"/>
                    <a:pt x="3753" y="2879"/>
                    <a:pt x="3750" y="2916"/>
                  </a:cubicBezTo>
                  <a:cubicBezTo>
                    <a:pt x="3746" y="2954"/>
                    <a:pt x="3788" y="3091"/>
                    <a:pt x="3788" y="3091"/>
                  </a:cubicBezTo>
                  <a:cubicBezTo>
                    <a:pt x="3788" y="3091"/>
                    <a:pt x="3841" y="3220"/>
                    <a:pt x="3855" y="3249"/>
                  </a:cubicBezTo>
                  <a:cubicBezTo>
                    <a:pt x="3869" y="3278"/>
                    <a:pt x="3929" y="3365"/>
                    <a:pt x="3929" y="3403"/>
                  </a:cubicBezTo>
                  <a:cubicBezTo>
                    <a:pt x="3929" y="3440"/>
                    <a:pt x="3936" y="3498"/>
                    <a:pt x="3957" y="3498"/>
                  </a:cubicBezTo>
                  <a:cubicBezTo>
                    <a:pt x="3969" y="3498"/>
                    <a:pt x="3981" y="3477"/>
                    <a:pt x="3994" y="3451"/>
                  </a:cubicBezTo>
                  <a:cubicBezTo>
                    <a:pt x="3998" y="3451"/>
                    <a:pt x="3998" y="3451"/>
                    <a:pt x="3998" y="3451"/>
                  </a:cubicBezTo>
                  <a:cubicBezTo>
                    <a:pt x="4009" y="3430"/>
                    <a:pt x="4019" y="3406"/>
                    <a:pt x="4031" y="3386"/>
                  </a:cubicBezTo>
                  <a:cubicBezTo>
                    <a:pt x="4034" y="3380"/>
                    <a:pt x="4038" y="3375"/>
                    <a:pt x="4041" y="3369"/>
                  </a:cubicBezTo>
                  <a:cubicBezTo>
                    <a:pt x="4037" y="3369"/>
                    <a:pt x="4037" y="3369"/>
                    <a:pt x="4037" y="3369"/>
                  </a:cubicBezTo>
                  <a:cubicBezTo>
                    <a:pt x="4049" y="3350"/>
                    <a:pt x="4060" y="3332"/>
                    <a:pt x="4069" y="3314"/>
                  </a:cubicBezTo>
                  <a:cubicBezTo>
                    <a:pt x="4073" y="3314"/>
                    <a:pt x="4073" y="3314"/>
                    <a:pt x="4073" y="3314"/>
                  </a:cubicBezTo>
                  <a:cubicBezTo>
                    <a:pt x="4082" y="3298"/>
                    <a:pt x="4089" y="3282"/>
                    <a:pt x="4093" y="3266"/>
                  </a:cubicBezTo>
                  <a:cubicBezTo>
                    <a:pt x="4095" y="3257"/>
                    <a:pt x="4096" y="3245"/>
                    <a:pt x="4096" y="3232"/>
                  </a:cubicBezTo>
                  <a:cubicBezTo>
                    <a:pt x="4089" y="3232"/>
                    <a:pt x="4089" y="3232"/>
                    <a:pt x="4089" y="3232"/>
                  </a:cubicBezTo>
                  <a:cubicBezTo>
                    <a:pt x="4089" y="3214"/>
                    <a:pt x="4087" y="3195"/>
                    <a:pt x="4085" y="3177"/>
                  </a:cubicBezTo>
                  <a:cubicBezTo>
                    <a:pt x="4092" y="3177"/>
                    <a:pt x="4092" y="3177"/>
                    <a:pt x="4092" y="3177"/>
                  </a:cubicBezTo>
                  <a:cubicBezTo>
                    <a:pt x="4089" y="3144"/>
                    <a:pt x="4084" y="3114"/>
                    <a:pt x="4084" y="3099"/>
                  </a:cubicBezTo>
                  <a:cubicBezTo>
                    <a:pt x="4084" y="3098"/>
                    <a:pt x="4084" y="3096"/>
                    <a:pt x="4084" y="3094"/>
                  </a:cubicBezTo>
                  <a:cubicBezTo>
                    <a:pt x="4078" y="3094"/>
                    <a:pt x="4078" y="3094"/>
                    <a:pt x="4078" y="3094"/>
                  </a:cubicBezTo>
                  <a:cubicBezTo>
                    <a:pt x="4081" y="3075"/>
                    <a:pt x="4095" y="3057"/>
                    <a:pt x="4121" y="3040"/>
                  </a:cubicBezTo>
                  <a:cubicBezTo>
                    <a:pt x="4121" y="3040"/>
                    <a:pt x="4121" y="3040"/>
                    <a:pt x="4121" y="3040"/>
                  </a:cubicBezTo>
                  <a:cubicBezTo>
                    <a:pt x="4124" y="3038"/>
                    <a:pt x="4127" y="3036"/>
                    <a:pt x="4131" y="3034"/>
                  </a:cubicBezTo>
                  <a:cubicBezTo>
                    <a:pt x="4136" y="3030"/>
                    <a:pt x="4141" y="3027"/>
                    <a:pt x="4148" y="3024"/>
                  </a:cubicBezTo>
                  <a:cubicBezTo>
                    <a:pt x="4154" y="3021"/>
                    <a:pt x="4160" y="3017"/>
                    <a:pt x="4166" y="3013"/>
                  </a:cubicBezTo>
                  <a:cubicBezTo>
                    <a:pt x="4186" y="2999"/>
                    <a:pt x="4204" y="2979"/>
                    <a:pt x="4221" y="2957"/>
                  </a:cubicBezTo>
                  <a:cubicBezTo>
                    <a:pt x="4218" y="2957"/>
                    <a:pt x="4218" y="2957"/>
                    <a:pt x="4218" y="2957"/>
                  </a:cubicBezTo>
                  <a:cubicBezTo>
                    <a:pt x="4233" y="2938"/>
                    <a:pt x="4248" y="2918"/>
                    <a:pt x="4263" y="2902"/>
                  </a:cubicBezTo>
                  <a:cubicBezTo>
                    <a:pt x="4265" y="2902"/>
                    <a:pt x="4265" y="2902"/>
                    <a:pt x="4265" y="2902"/>
                  </a:cubicBezTo>
                  <a:cubicBezTo>
                    <a:pt x="4270" y="2897"/>
                    <a:pt x="4276" y="2892"/>
                    <a:pt x="4281" y="2887"/>
                  </a:cubicBezTo>
                  <a:cubicBezTo>
                    <a:pt x="4303" y="2867"/>
                    <a:pt x="4313" y="2841"/>
                    <a:pt x="4329" y="2820"/>
                  </a:cubicBezTo>
                  <a:cubicBezTo>
                    <a:pt x="4326" y="2820"/>
                    <a:pt x="4326" y="2820"/>
                    <a:pt x="4326" y="2820"/>
                  </a:cubicBezTo>
                  <a:cubicBezTo>
                    <a:pt x="4341" y="2804"/>
                    <a:pt x="4361" y="2791"/>
                    <a:pt x="4398" y="2791"/>
                  </a:cubicBezTo>
                  <a:cubicBezTo>
                    <a:pt x="4482" y="2791"/>
                    <a:pt x="4475" y="2791"/>
                    <a:pt x="4496" y="2767"/>
                  </a:cubicBezTo>
                  <a:cubicBezTo>
                    <a:pt x="4497" y="2766"/>
                    <a:pt x="4497" y="2766"/>
                    <a:pt x="4497" y="2765"/>
                  </a:cubicBezTo>
                  <a:cubicBezTo>
                    <a:pt x="4500" y="2765"/>
                    <a:pt x="4500" y="2765"/>
                    <a:pt x="4500" y="2765"/>
                  </a:cubicBezTo>
                  <a:cubicBezTo>
                    <a:pt x="4501" y="2764"/>
                    <a:pt x="4502" y="2763"/>
                    <a:pt x="4503" y="2762"/>
                  </a:cubicBezTo>
                  <a:cubicBezTo>
                    <a:pt x="4509" y="2755"/>
                    <a:pt x="4515" y="2749"/>
                    <a:pt x="4521" y="2744"/>
                  </a:cubicBezTo>
                  <a:cubicBezTo>
                    <a:pt x="4532" y="2738"/>
                    <a:pt x="4543" y="2743"/>
                    <a:pt x="4549" y="2771"/>
                  </a:cubicBezTo>
                  <a:cubicBezTo>
                    <a:pt x="4559" y="2816"/>
                    <a:pt x="4619" y="2883"/>
                    <a:pt x="4630" y="2900"/>
                  </a:cubicBezTo>
                  <a:cubicBezTo>
                    <a:pt x="4640" y="2916"/>
                    <a:pt x="4662" y="2962"/>
                    <a:pt x="4658" y="3012"/>
                  </a:cubicBezTo>
                  <a:cubicBezTo>
                    <a:pt x="4655" y="3062"/>
                    <a:pt x="4637" y="3198"/>
                    <a:pt x="4655" y="3198"/>
                  </a:cubicBezTo>
                  <a:cubicBezTo>
                    <a:pt x="4659" y="3198"/>
                    <a:pt x="4665" y="3190"/>
                    <a:pt x="4673" y="3177"/>
                  </a:cubicBezTo>
                  <a:cubicBezTo>
                    <a:pt x="4677" y="3177"/>
                    <a:pt x="4677" y="3177"/>
                    <a:pt x="4677" y="3177"/>
                  </a:cubicBezTo>
                  <a:cubicBezTo>
                    <a:pt x="4689" y="3157"/>
                    <a:pt x="4705" y="3123"/>
                    <a:pt x="4718" y="3094"/>
                  </a:cubicBezTo>
                  <a:cubicBezTo>
                    <a:pt x="4713" y="3094"/>
                    <a:pt x="4713" y="3094"/>
                    <a:pt x="4713" y="3094"/>
                  </a:cubicBezTo>
                  <a:cubicBezTo>
                    <a:pt x="4724" y="3069"/>
                    <a:pt x="4732" y="3049"/>
                    <a:pt x="4732" y="3049"/>
                  </a:cubicBezTo>
                  <a:cubicBezTo>
                    <a:pt x="4732" y="3049"/>
                    <a:pt x="4738" y="3045"/>
                    <a:pt x="4746" y="3040"/>
                  </a:cubicBezTo>
                  <a:cubicBezTo>
                    <a:pt x="4746" y="3040"/>
                    <a:pt x="4746" y="3040"/>
                    <a:pt x="4746" y="3040"/>
                  </a:cubicBezTo>
                  <a:cubicBezTo>
                    <a:pt x="4747" y="3039"/>
                    <a:pt x="4749" y="3037"/>
                    <a:pt x="4751" y="3036"/>
                  </a:cubicBezTo>
                  <a:cubicBezTo>
                    <a:pt x="4773" y="3023"/>
                    <a:pt x="4808" y="3008"/>
                    <a:pt x="4806" y="3054"/>
                  </a:cubicBezTo>
                  <a:cubicBezTo>
                    <a:pt x="4802" y="3120"/>
                    <a:pt x="4813" y="3191"/>
                    <a:pt x="4813" y="3232"/>
                  </a:cubicBezTo>
                  <a:cubicBezTo>
                    <a:pt x="4813" y="3274"/>
                    <a:pt x="4876" y="3374"/>
                    <a:pt x="4876" y="3349"/>
                  </a:cubicBezTo>
                  <a:cubicBezTo>
                    <a:pt x="4876" y="3341"/>
                    <a:pt x="4879" y="3328"/>
                    <a:pt x="4883" y="3314"/>
                  </a:cubicBezTo>
                  <a:cubicBezTo>
                    <a:pt x="4888" y="3314"/>
                    <a:pt x="4888" y="3314"/>
                    <a:pt x="4888" y="3314"/>
                  </a:cubicBezTo>
                  <a:cubicBezTo>
                    <a:pt x="4895" y="3289"/>
                    <a:pt x="4905" y="3257"/>
                    <a:pt x="4909" y="3232"/>
                  </a:cubicBezTo>
                  <a:cubicBezTo>
                    <a:pt x="4903" y="3232"/>
                    <a:pt x="4903" y="3232"/>
                    <a:pt x="4903" y="3232"/>
                  </a:cubicBezTo>
                  <a:cubicBezTo>
                    <a:pt x="4904" y="3226"/>
                    <a:pt x="4905" y="3221"/>
                    <a:pt x="4905" y="3216"/>
                  </a:cubicBezTo>
                  <a:cubicBezTo>
                    <a:pt x="4905" y="3178"/>
                    <a:pt x="4922" y="3195"/>
                    <a:pt x="4968" y="3232"/>
                  </a:cubicBezTo>
                  <a:cubicBezTo>
                    <a:pt x="5013" y="3270"/>
                    <a:pt x="5045" y="3345"/>
                    <a:pt x="5045" y="3345"/>
                  </a:cubicBezTo>
                  <a:cubicBezTo>
                    <a:pt x="5045" y="3345"/>
                    <a:pt x="5089" y="3485"/>
                    <a:pt x="5096" y="3506"/>
                  </a:cubicBezTo>
                  <a:cubicBezTo>
                    <a:pt x="5100" y="3517"/>
                    <a:pt x="5118" y="3486"/>
                    <a:pt x="5134" y="3451"/>
                  </a:cubicBezTo>
                  <a:cubicBezTo>
                    <a:pt x="5139" y="3451"/>
                    <a:pt x="5139" y="3451"/>
                    <a:pt x="5139" y="3451"/>
                  </a:cubicBezTo>
                  <a:cubicBezTo>
                    <a:pt x="5153" y="3422"/>
                    <a:pt x="5167" y="3390"/>
                    <a:pt x="5172" y="3378"/>
                  </a:cubicBezTo>
                  <a:cubicBezTo>
                    <a:pt x="5173" y="3374"/>
                    <a:pt x="5174" y="3372"/>
                    <a:pt x="5176" y="3369"/>
                  </a:cubicBezTo>
                  <a:cubicBezTo>
                    <a:pt x="5171" y="3369"/>
                    <a:pt x="5171" y="3369"/>
                    <a:pt x="5171" y="3369"/>
                  </a:cubicBezTo>
                  <a:cubicBezTo>
                    <a:pt x="5179" y="3353"/>
                    <a:pt x="5188" y="3343"/>
                    <a:pt x="5211" y="3336"/>
                  </a:cubicBezTo>
                  <a:cubicBezTo>
                    <a:pt x="5230" y="3331"/>
                    <a:pt x="5252" y="3329"/>
                    <a:pt x="5267" y="3314"/>
                  </a:cubicBezTo>
                  <a:cubicBezTo>
                    <a:pt x="5269" y="3314"/>
                    <a:pt x="5269" y="3314"/>
                    <a:pt x="5269" y="3314"/>
                  </a:cubicBezTo>
                  <a:cubicBezTo>
                    <a:pt x="5279" y="3307"/>
                    <a:pt x="5287" y="3296"/>
                    <a:pt x="5291" y="3278"/>
                  </a:cubicBezTo>
                  <a:cubicBezTo>
                    <a:pt x="5295" y="3263"/>
                    <a:pt x="5300" y="3248"/>
                    <a:pt x="5305" y="3232"/>
                  </a:cubicBezTo>
                  <a:cubicBezTo>
                    <a:pt x="5299" y="3232"/>
                    <a:pt x="5299" y="3232"/>
                    <a:pt x="5299" y="3232"/>
                  </a:cubicBezTo>
                  <a:cubicBezTo>
                    <a:pt x="5304" y="3214"/>
                    <a:pt x="5307" y="3196"/>
                    <a:pt x="5305" y="3177"/>
                  </a:cubicBezTo>
                  <a:cubicBezTo>
                    <a:pt x="5312" y="3177"/>
                    <a:pt x="5312" y="3177"/>
                    <a:pt x="5312" y="3177"/>
                  </a:cubicBezTo>
                  <a:cubicBezTo>
                    <a:pt x="5311" y="3157"/>
                    <a:pt x="5306" y="3137"/>
                    <a:pt x="5291" y="3116"/>
                  </a:cubicBezTo>
                  <a:cubicBezTo>
                    <a:pt x="5286" y="3108"/>
                    <a:pt x="5282" y="3102"/>
                    <a:pt x="5277" y="3094"/>
                  </a:cubicBezTo>
                  <a:cubicBezTo>
                    <a:pt x="5268" y="3094"/>
                    <a:pt x="5268" y="3094"/>
                    <a:pt x="5268" y="3094"/>
                  </a:cubicBezTo>
                  <a:cubicBezTo>
                    <a:pt x="5255" y="3074"/>
                    <a:pt x="5243" y="3055"/>
                    <a:pt x="5232" y="3040"/>
                  </a:cubicBezTo>
                  <a:cubicBezTo>
                    <a:pt x="5242" y="3040"/>
                    <a:pt x="5242" y="3040"/>
                    <a:pt x="5242" y="3040"/>
                  </a:cubicBezTo>
                  <a:cubicBezTo>
                    <a:pt x="5226" y="3017"/>
                    <a:pt x="5213" y="2998"/>
                    <a:pt x="5196" y="2983"/>
                  </a:cubicBezTo>
                  <a:cubicBezTo>
                    <a:pt x="5189" y="2976"/>
                    <a:pt x="5182" y="2967"/>
                    <a:pt x="5176" y="2957"/>
                  </a:cubicBezTo>
                  <a:cubicBezTo>
                    <a:pt x="5167" y="2957"/>
                    <a:pt x="5167" y="2957"/>
                    <a:pt x="5167" y="2957"/>
                  </a:cubicBezTo>
                  <a:cubicBezTo>
                    <a:pt x="5155" y="2938"/>
                    <a:pt x="5146" y="2917"/>
                    <a:pt x="5141" y="2902"/>
                  </a:cubicBezTo>
                  <a:cubicBezTo>
                    <a:pt x="5149" y="2902"/>
                    <a:pt x="5149" y="2902"/>
                    <a:pt x="5149" y="2902"/>
                  </a:cubicBezTo>
                  <a:cubicBezTo>
                    <a:pt x="5143" y="2889"/>
                    <a:pt x="5140" y="2879"/>
                    <a:pt x="5140" y="2879"/>
                  </a:cubicBezTo>
                  <a:cubicBezTo>
                    <a:pt x="5140" y="2879"/>
                    <a:pt x="5169" y="2848"/>
                    <a:pt x="5195" y="2820"/>
                  </a:cubicBezTo>
                  <a:cubicBezTo>
                    <a:pt x="5192" y="2820"/>
                    <a:pt x="5192" y="2820"/>
                    <a:pt x="5192" y="2820"/>
                  </a:cubicBezTo>
                  <a:cubicBezTo>
                    <a:pt x="5204" y="2807"/>
                    <a:pt x="5215" y="2795"/>
                    <a:pt x="5221" y="2787"/>
                  </a:cubicBezTo>
                  <a:cubicBezTo>
                    <a:pt x="5242" y="2762"/>
                    <a:pt x="5274" y="2779"/>
                    <a:pt x="5278" y="2808"/>
                  </a:cubicBezTo>
                  <a:cubicBezTo>
                    <a:pt x="5281" y="2837"/>
                    <a:pt x="5246" y="2862"/>
                    <a:pt x="5239" y="2925"/>
                  </a:cubicBezTo>
                  <a:cubicBezTo>
                    <a:pt x="5232" y="2987"/>
                    <a:pt x="5281" y="3008"/>
                    <a:pt x="5295" y="2987"/>
                  </a:cubicBezTo>
                  <a:cubicBezTo>
                    <a:pt x="5298" y="2986"/>
                    <a:pt x="5300" y="2985"/>
                    <a:pt x="5302" y="2983"/>
                  </a:cubicBezTo>
                  <a:cubicBezTo>
                    <a:pt x="5306" y="2976"/>
                    <a:pt x="5312" y="2967"/>
                    <a:pt x="5319" y="2957"/>
                  </a:cubicBezTo>
                  <a:cubicBezTo>
                    <a:pt x="5315" y="2957"/>
                    <a:pt x="5315" y="2957"/>
                    <a:pt x="5315" y="2957"/>
                  </a:cubicBezTo>
                  <a:cubicBezTo>
                    <a:pt x="5330" y="2936"/>
                    <a:pt x="5345" y="2912"/>
                    <a:pt x="5345" y="2904"/>
                  </a:cubicBezTo>
                  <a:cubicBezTo>
                    <a:pt x="5345" y="2903"/>
                    <a:pt x="5344" y="2903"/>
                    <a:pt x="5344" y="2902"/>
                  </a:cubicBezTo>
                  <a:cubicBezTo>
                    <a:pt x="5350" y="2902"/>
                    <a:pt x="5350" y="2902"/>
                    <a:pt x="5350" y="2902"/>
                  </a:cubicBezTo>
                  <a:cubicBezTo>
                    <a:pt x="5351" y="2901"/>
                    <a:pt x="5351" y="2900"/>
                    <a:pt x="5351" y="2899"/>
                  </a:cubicBezTo>
                  <a:cubicBezTo>
                    <a:pt x="5351" y="2887"/>
                    <a:pt x="5326" y="2891"/>
                    <a:pt x="5323" y="2845"/>
                  </a:cubicBezTo>
                  <a:cubicBezTo>
                    <a:pt x="5322" y="2836"/>
                    <a:pt x="5324" y="2828"/>
                    <a:pt x="5327" y="2820"/>
                  </a:cubicBezTo>
                  <a:cubicBezTo>
                    <a:pt x="5322" y="2820"/>
                    <a:pt x="5322" y="2820"/>
                    <a:pt x="5322" y="2820"/>
                  </a:cubicBezTo>
                  <a:cubicBezTo>
                    <a:pt x="5334" y="2791"/>
                    <a:pt x="5366" y="2773"/>
                    <a:pt x="5380" y="2783"/>
                  </a:cubicBezTo>
                  <a:cubicBezTo>
                    <a:pt x="5397" y="2796"/>
                    <a:pt x="5510" y="2767"/>
                    <a:pt x="5563" y="2733"/>
                  </a:cubicBezTo>
                  <a:cubicBezTo>
                    <a:pt x="5564" y="2732"/>
                    <a:pt x="5565" y="2732"/>
                    <a:pt x="5566" y="2731"/>
                  </a:cubicBezTo>
                  <a:cubicBezTo>
                    <a:pt x="5567" y="2730"/>
                    <a:pt x="5568" y="2730"/>
                    <a:pt x="5569" y="2729"/>
                  </a:cubicBezTo>
                  <a:cubicBezTo>
                    <a:pt x="5588" y="2717"/>
                    <a:pt x="5604" y="2700"/>
                    <a:pt x="5619" y="2683"/>
                  </a:cubicBezTo>
                  <a:cubicBezTo>
                    <a:pt x="5615" y="2683"/>
                    <a:pt x="5615" y="2683"/>
                    <a:pt x="5615" y="2683"/>
                  </a:cubicBezTo>
                  <a:cubicBezTo>
                    <a:pt x="5630" y="2664"/>
                    <a:pt x="5643" y="2644"/>
                    <a:pt x="5655" y="2628"/>
                  </a:cubicBezTo>
                  <a:cubicBezTo>
                    <a:pt x="5659" y="2628"/>
                    <a:pt x="5659" y="2628"/>
                    <a:pt x="5659" y="2628"/>
                  </a:cubicBezTo>
                  <a:cubicBezTo>
                    <a:pt x="5668" y="2615"/>
                    <a:pt x="5677" y="2604"/>
                    <a:pt x="5686" y="2596"/>
                  </a:cubicBezTo>
                  <a:cubicBezTo>
                    <a:pt x="5697" y="2586"/>
                    <a:pt x="5717" y="2567"/>
                    <a:pt x="5739" y="2546"/>
                  </a:cubicBezTo>
                  <a:cubicBezTo>
                    <a:pt x="5737" y="2546"/>
                    <a:pt x="5737" y="2546"/>
                    <a:pt x="5737" y="2546"/>
                  </a:cubicBezTo>
                  <a:cubicBezTo>
                    <a:pt x="5754" y="2528"/>
                    <a:pt x="5772" y="2509"/>
                    <a:pt x="5786" y="2491"/>
                  </a:cubicBezTo>
                  <a:cubicBezTo>
                    <a:pt x="5789" y="2491"/>
                    <a:pt x="5789" y="2491"/>
                    <a:pt x="5789" y="2491"/>
                  </a:cubicBezTo>
                  <a:cubicBezTo>
                    <a:pt x="5809" y="2466"/>
                    <a:pt x="5822" y="2442"/>
                    <a:pt x="5819" y="2425"/>
                  </a:cubicBezTo>
                  <a:cubicBezTo>
                    <a:pt x="5819" y="2420"/>
                    <a:pt x="5818" y="2414"/>
                    <a:pt x="5818" y="2408"/>
                  </a:cubicBezTo>
                  <a:cubicBezTo>
                    <a:pt x="5811" y="2408"/>
                    <a:pt x="5811" y="2408"/>
                    <a:pt x="5811" y="2408"/>
                  </a:cubicBezTo>
                  <a:cubicBezTo>
                    <a:pt x="5810" y="2391"/>
                    <a:pt x="5810" y="2373"/>
                    <a:pt x="5808" y="2353"/>
                  </a:cubicBezTo>
                  <a:cubicBezTo>
                    <a:pt x="5815" y="2353"/>
                    <a:pt x="5815" y="2353"/>
                    <a:pt x="5815" y="2353"/>
                  </a:cubicBezTo>
                  <a:cubicBezTo>
                    <a:pt x="5814" y="2327"/>
                    <a:pt x="5811" y="2299"/>
                    <a:pt x="5800" y="2271"/>
                  </a:cubicBezTo>
                  <a:cubicBezTo>
                    <a:pt x="5791" y="2271"/>
                    <a:pt x="5791" y="2271"/>
                    <a:pt x="5791" y="2271"/>
                  </a:cubicBezTo>
                  <a:cubicBezTo>
                    <a:pt x="5790" y="2268"/>
                    <a:pt x="5789" y="2266"/>
                    <a:pt x="5788" y="2263"/>
                  </a:cubicBezTo>
                  <a:cubicBezTo>
                    <a:pt x="5780" y="2245"/>
                    <a:pt x="5771" y="2230"/>
                    <a:pt x="5761" y="2216"/>
                  </a:cubicBezTo>
                  <a:cubicBezTo>
                    <a:pt x="5771" y="2216"/>
                    <a:pt x="5771" y="2216"/>
                    <a:pt x="5771" y="2216"/>
                  </a:cubicBezTo>
                  <a:cubicBezTo>
                    <a:pt x="5749" y="2182"/>
                    <a:pt x="5728" y="2156"/>
                    <a:pt x="5717" y="2138"/>
                  </a:cubicBezTo>
                  <a:cubicBezTo>
                    <a:pt x="5716" y="2137"/>
                    <a:pt x="5717" y="2135"/>
                    <a:pt x="5717" y="2134"/>
                  </a:cubicBezTo>
                  <a:cubicBezTo>
                    <a:pt x="5710" y="2134"/>
                    <a:pt x="5710" y="2134"/>
                    <a:pt x="5710" y="2134"/>
                  </a:cubicBezTo>
                  <a:cubicBezTo>
                    <a:pt x="5715" y="2117"/>
                    <a:pt x="5771" y="2109"/>
                    <a:pt x="5802" y="2079"/>
                  </a:cubicBezTo>
                  <a:cubicBezTo>
                    <a:pt x="5804" y="2079"/>
                    <a:pt x="5804" y="2079"/>
                    <a:pt x="5804" y="2079"/>
                  </a:cubicBezTo>
                  <a:cubicBezTo>
                    <a:pt x="5807" y="2077"/>
                    <a:pt x="5810" y="2074"/>
                    <a:pt x="5812" y="2072"/>
                  </a:cubicBezTo>
                  <a:cubicBezTo>
                    <a:pt x="5848" y="2034"/>
                    <a:pt x="5812" y="2001"/>
                    <a:pt x="5795" y="2005"/>
                  </a:cubicBezTo>
                  <a:cubicBezTo>
                    <a:pt x="5777" y="2009"/>
                    <a:pt x="5731" y="2022"/>
                    <a:pt x="5714" y="2018"/>
                  </a:cubicBezTo>
                  <a:cubicBezTo>
                    <a:pt x="5704" y="2015"/>
                    <a:pt x="5696" y="2007"/>
                    <a:pt x="5686" y="1997"/>
                  </a:cubicBezTo>
                  <a:cubicBezTo>
                    <a:pt x="5675" y="1997"/>
                    <a:pt x="5675" y="1997"/>
                    <a:pt x="5675" y="1997"/>
                  </a:cubicBezTo>
                  <a:cubicBezTo>
                    <a:pt x="5669" y="1989"/>
                    <a:pt x="5661" y="1981"/>
                    <a:pt x="5651" y="1972"/>
                  </a:cubicBezTo>
                  <a:cubicBezTo>
                    <a:pt x="5640" y="1963"/>
                    <a:pt x="5639" y="1952"/>
                    <a:pt x="5642" y="1942"/>
                  </a:cubicBezTo>
                  <a:cubicBezTo>
                    <a:pt x="5648" y="1942"/>
                    <a:pt x="5648" y="1942"/>
                    <a:pt x="5648" y="1942"/>
                  </a:cubicBezTo>
                  <a:cubicBezTo>
                    <a:pt x="5649" y="1931"/>
                    <a:pt x="5656" y="1922"/>
                    <a:pt x="5664" y="1916"/>
                  </a:cubicBezTo>
                  <a:cubicBezTo>
                    <a:pt x="5668" y="1914"/>
                    <a:pt x="5672" y="1913"/>
                    <a:pt x="5676" y="1914"/>
                  </a:cubicBezTo>
                  <a:cubicBezTo>
                    <a:pt x="5682" y="1915"/>
                    <a:pt x="5691" y="1911"/>
                    <a:pt x="5701" y="1903"/>
                  </a:cubicBezTo>
                  <a:cubicBezTo>
                    <a:pt x="5717" y="1894"/>
                    <a:pt x="5738" y="1875"/>
                    <a:pt x="5754" y="1859"/>
                  </a:cubicBezTo>
                  <a:cubicBezTo>
                    <a:pt x="5752" y="1859"/>
                    <a:pt x="5752" y="1859"/>
                    <a:pt x="5752" y="1859"/>
                  </a:cubicBezTo>
                  <a:cubicBezTo>
                    <a:pt x="5755" y="1856"/>
                    <a:pt x="5758" y="1854"/>
                    <a:pt x="5760" y="1851"/>
                  </a:cubicBezTo>
                  <a:cubicBezTo>
                    <a:pt x="5781" y="1831"/>
                    <a:pt x="5813" y="1814"/>
                    <a:pt x="5802" y="1835"/>
                  </a:cubicBezTo>
                  <a:cubicBezTo>
                    <a:pt x="5792" y="1856"/>
                    <a:pt x="5767" y="1930"/>
                    <a:pt x="5795" y="1934"/>
                  </a:cubicBezTo>
                  <a:cubicBezTo>
                    <a:pt x="5806" y="1936"/>
                    <a:pt x="5824" y="1927"/>
                    <a:pt x="5841" y="1915"/>
                  </a:cubicBezTo>
                  <a:cubicBezTo>
                    <a:pt x="5858" y="1904"/>
                    <a:pt x="5875" y="1891"/>
                    <a:pt x="5888" y="1882"/>
                  </a:cubicBezTo>
                  <a:cubicBezTo>
                    <a:pt x="5894" y="1878"/>
                    <a:pt x="5899" y="1875"/>
                    <a:pt x="5901" y="1876"/>
                  </a:cubicBezTo>
                  <a:cubicBezTo>
                    <a:pt x="5911" y="1880"/>
                    <a:pt x="5929" y="1934"/>
                    <a:pt x="5918" y="1959"/>
                  </a:cubicBezTo>
                  <a:cubicBezTo>
                    <a:pt x="5908" y="1984"/>
                    <a:pt x="5908" y="2026"/>
                    <a:pt x="5922" y="2022"/>
                  </a:cubicBezTo>
                  <a:cubicBezTo>
                    <a:pt x="5925" y="2021"/>
                    <a:pt x="5928" y="2019"/>
                    <a:pt x="5932" y="2016"/>
                  </a:cubicBezTo>
                  <a:cubicBezTo>
                    <a:pt x="5938" y="2013"/>
                    <a:pt x="5948" y="2004"/>
                    <a:pt x="5956" y="1997"/>
                  </a:cubicBezTo>
                  <a:cubicBezTo>
                    <a:pt x="5955" y="1997"/>
                    <a:pt x="5955" y="1997"/>
                    <a:pt x="5955" y="1997"/>
                  </a:cubicBezTo>
                  <a:cubicBezTo>
                    <a:pt x="5962" y="1991"/>
                    <a:pt x="5968" y="1988"/>
                    <a:pt x="5971" y="1993"/>
                  </a:cubicBezTo>
                  <a:cubicBezTo>
                    <a:pt x="5978" y="2005"/>
                    <a:pt x="6014" y="2030"/>
                    <a:pt x="5996" y="2076"/>
                  </a:cubicBezTo>
                  <a:cubicBezTo>
                    <a:pt x="5978" y="2122"/>
                    <a:pt x="5943" y="2138"/>
                    <a:pt x="5985" y="2167"/>
                  </a:cubicBezTo>
                  <a:cubicBezTo>
                    <a:pt x="6014" y="2187"/>
                    <a:pt x="6030" y="2182"/>
                    <a:pt x="6047" y="2170"/>
                  </a:cubicBezTo>
                  <a:cubicBezTo>
                    <a:pt x="6057" y="2164"/>
                    <a:pt x="6067" y="2155"/>
                    <a:pt x="6080" y="2147"/>
                  </a:cubicBezTo>
                  <a:cubicBezTo>
                    <a:pt x="6084" y="2144"/>
                    <a:pt x="6088" y="2139"/>
                    <a:pt x="6092" y="2134"/>
                  </a:cubicBezTo>
                  <a:cubicBezTo>
                    <a:pt x="6088" y="2134"/>
                    <a:pt x="6088" y="2134"/>
                    <a:pt x="6088" y="2134"/>
                  </a:cubicBezTo>
                  <a:cubicBezTo>
                    <a:pt x="6098" y="2119"/>
                    <a:pt x="6106" y="2099"/>
                    <a:pt x="6110" y="2079"/>
                  </a:cubicBezTo>
                  <a:cubicBezTo>
                    <a:pt x="6116" y="2079"/>
                    <a:pt x="6116" y="2079"/>
                    <a:pt x="6116" y="2079"/>
                  </a:cubicBezTo>
                  <a:cubicBezTo>
                    <a:pt x="6123" y="2050"/>
                    <a:pt x="6124" y="2020"/>
                    <a:pt x="6115" y="2005"/>
                  </a:cubicBezTo>
                  <a:cubicBezTo>
                    <a:pt x="6114" y="2003"/>
                    <a:pt x="6112" y="2000"/>
                    <a:pt x="6110" y="1997"/>
                  </a:cubicBezTo>
                  <a:cubicBezTo>
                    <a:pt x="6100" y="1997"/>
                    <a:pt x="6100" y="1997"/>
                    <a:pt x="6100" y="1997"/>
                  </a:cubicBezTo>
                  <a:cubicBezTo>
                    <a:pt x="6090" y="1980"/>
                    <a:pt x="6077" y="1960"/>
                    <a:pt x="6066" y="1942"/>
                  </a:cubicBezTo>
                  <a:cubicBezTo>
                    <a:pt x="6075" y="1942"/>
                    <a:pt x="6075" y="1942"/>
                    <a:pt x="6075" y="1942"/>
                  </a:cubicBezTo>
                  <a:cubicBezTo>
                    <a:pt x="6064" y="1923"/>
                    <a:pt x="6055" y="1906"/>
                    <a:pt x="6055" y="1897"/>
                  </a:cubicBezTo>
                  <a:cubicBezTo>
                    <a:pt x="6055" y="1894"/>
                    <a:pt x="6058" y="1891"/>
                    <a:pt x="6061" y="1888"/>
                  </a:cubicBezTo>
                  <a:cubicBezTo>
                    <a:pt x="6074" y="1881"/>
                    <a:pt x="6096" y="1876"/>
                    <a:pt x="6109" y="1866"/>
                  </a:cubicBezTo>
                  <a:cubicBezTo>
                    <a:pt x="6112" y="1864"/>
                    <a:pt x="6115" y="1862"/>
                    <a:pt x="6118" y="1859"/>
                  </a:cubicBezTo>
                  <a:cubicBezTo>
                    <a:pt x="6115" y="1859"/>
                    <a:pt x="6115" y="1859"/>
                    <a:pt x="6115" y="1859"/>
                  </a:cubicBezTo>
                  <a:cubicBezTo>
                    <a:pt x="6117" y="1856"/>
                    <a:pt x="6119" y="1852"/>
                    <a:pt x="6119" y="1847"/>
                  </a:cubicBezTo>
                  <a:cubicBezTo>
                    <a:pt x="6119" y="1831"/>
                    <a:pt x="6125" y="1816"/>
                    <a:pt x="6134" y="1804"/>
                  </a:cubicBezTo>
                  <a:cubicBezTo>
                    <a:pt x="6138" y="1804"/>
                    <a:pt x="6138" y="1804"/>
                    <a:pt x="6138" y="1804"/>
                  </a:cubicBezTo>
                  <a:cubicBezTo>
                    <a:pt x="6148" y="1790"/>
                    <a:pt x="6161" y="1779"/>
                    <a:pt x="6175" y="1772"/>
                  </a:cubicBezTo>
                  <a:cubicBezTo>
                    <a:pt x="6176" y="1772"/>
                    <a:pt x="6177" y="1771"/>
                    <a:pt x="6178" y="1770"/>
                  </a:cubicBezTo>
                  <a:cubicBezTo>
                    <a:pt x="6178" y="1770"/>
                    <a:pt x="6178" y="1770"/>
                    <a:pt x="6178" y="1770"/>
                  </a:cubicBezTo>
                  <a:cubicBezTo>
                    <a:pt x="6194" y="1760"/>
                    <a:pt x="6213" y="1735"/>
                    <a:pt x="6226" y="1725"/>
                  </a:cubicBezTo>
                  <a:cubicBezTo>
                    <a:pt x="6230" y="1723"/>
                    <a:pt x="6233" y="1723"/>
                    <a:pt x="6235" y="1727"/>
                  </a:cubicBezTo>
                  <a:cubicBezTo>
                    <a:pt x="6245" y="1742"/>
                    <a:pt x="6301" y="1761"/>
                    <a:pt x="6322" y="1743"/>
                  </a:cubicBezTo>
                  <a:cubicBezTo>
                    <a:pt x="6327" y="1741"/>
                    <a:pt x="6331" y="1739"/>
                    <a:pt x="6333" y="1735"/>
                  </a:cubicBezTo>
                  <a:cubicBezTo>
                    <a:pt x="6336" y="1732"/>
                    <a:pt x="6339" y="1727"/>
                    <a:pt x="6343" y="1722"/>
                  </a:cubicBezTo>
                  <a:cubicBezTo>
                    <a:pt x="6341" y="1722"/>
                    <a:pt x="6341" y="1722"/>
                    <a:pt x="6341" y="1722"/>
                  </a:cubicBezTo>
                  <a:cubicBezTo>
                    <a:pt x="6353" y="1708"/>
                    <a:pt x="6372" y="1688"/>
                    <a:pt x="6393" y="1667"/>
                  </a:cubicBezTo>
                  <a:cubicBezTo>
                    <a:pt x="6395" y="1667"/>
                    <a:pt x="6395" y="1667"/>
                    <a:pt x="6395" y="1667"/>
                  </a:cubicBezTo>
                  <a:cubicBezTo>
                    <a:pt x="6423" y="1640"/>
                    <a:pt x="6454" y="1610"/>
                    <a:pt x="6481" y="1585"/>
                  </a:cubicBezTo>
                  <a:cubicBezTo>
                    <a:pt x="6479" y="1585"/>
                    <a:pt x="6479" y="1585"/>
                    <a:pt x="6479" y="1585"/>
                  </a:cubicBezTo>
                  <a:cubicBezTo>
                    <a:pt x="6483" y="1581"/>
                    <a:pt x="6488" y="1576"/>
                    <a:pt x="6492" y="1573"/>
                  </a:cubicBezTo>
                  <a:cubicBezTo>
                    <a:pt x="6508" y="1559"/>
                    <a:pt x="6520" y="1545"/>
                    <a:pt x="6531" y="1530"/>
                  </a:cubicBezTo>
                  <a:cubicBezTo>
                    <a:pt x="6535" y="1530"/>
                    <a:pt x="6535" y="1530"/>
                    <a:pt x="6535" y="1530"/>
                  </a:cubicBezTo>
                  <a:cubicBezTo>
                    <a:pt x="6554" y="1504"/>
                    <a:pt x="6568" y="1476"/>
                    <a:pt x="6577" y="1448"/>
                  </a:cubicBezTo>
                  <a:cubicBezTo>
                    <a:pt x="6572" y="1448"/>
                    <a:pt x="6572" y="1448"/>
                    <a:pt x="6572" y="1448"/>
                  </a:cubicBezTo>
                  <a:cubicBezTo>
                    <a:pt x="6577" y="1434"/>
                    <a:pt x="6580" y="1420"/>
                    <a:pt x="6584" y="1406"/>
                  </a:cubicBezTo>
                  <a:cubicBezTo>
                    <a:pt x="6585" y="1402"/>
                    <a:pt x="6586" y="1397"/>
                    <a:pt x="6587" y="1393"/>
                  </a:cubicBezTo>
                  <a:cubicBezTo>
                    <a:pt x="6593" y="1393"/>
                    <a:pt x="6593" y="1393"/>
                    <a:pt x="6593" y="1393"/>
                  </a:cubicBezTo>
                  <a:cubicBezTo>
                    <a:pt x="6601" y="1361"/>
                    <a:pt x="6611" y="1335"/>
                    <a:pt x="6616" y="1310"/>
                  </a:cubicBezTo>
                  <a:cubicBezTo>
                    <a:pt x="6611" y="1310"/>
                    <a:pt x="6611" y="1310"/>
                    <a:pt x="6611" y="1310"/>
                  </a:cubicBezTo>
                  <a:cubicBezTo>
                    <a:pt x="6613" y="1295"/>
                    <a:pt x="6614" y="1281"/>
                    <a:pt x="6612" y="1265"/>
                  </a:cubicBezTo>
                  <a:cubicBezTo>
                    <a:pt x="6633" y="1323"/>
                    <a:pt x="6637" y="1365"/>
                    <a:pt x="6633" y="1410"/>
                  </a:cubicBezTo>
                  <a:cubicBezTo>
                    <a:pt x="6630" y="1456"/>
                    <a:pt x="6633" y="1552"/>
                    <a:pt x="6640" y="1564"/>
                  </a:cubicBezTo>
                  <a:cubicBezTo>
                    <a:pt x="6647" y="1577"/>
                    <a:pt x="6675" y="1606"/>
                    <a:pt x="6693" y="1598"/>
                  </a:cubicBezTo>
                  <a:cubicBezTo>
                    <a:pt x="6694" y="1597"/>
                    <a:pt x="6695" y="1595"/>
                    <a:pt x="6695" y="1594"/>
                  </a:cubicBezTo>
                  <a:cubicBezTo>
                    <a:pt x="6697" y="1594"/>
                    <a:pt x="6698" y="1594"/>
                    <a:pt x="6700" y="1593"/>
                  </a:cubicBezTo>
                  <a:cubicBezTo>
                    <a:pt x="6702" y="1592"/>
                    <a:pt x="6704" y="1589"/>
                    <a:pt x="6705" y="1585"/>
                  </a:cubicBezTo>
                  <a:cubicBezTo>
                    <a:pt x="6699" y="1585"/>
                    <a:pt x="6699" y="1585"/>
                    <a:pt x="6699" y="1585"/>
                  </a:cubicBezTo>
                  <a:cubicBezTo>
                    <a:pt x="6700" y="1571"/>
                    <a:pt x="6697" y="1550"/>
                    <a:pt x="6693" y="1530"/>
                  </a:cubicBezTo>
                  <a:cubicBezTo>
                    <a:pt x="6700" y="1530"/>
                    <a:pt x="6700" y="1530"/>
                    <a:pt x="6700" y="1530"/>
                  </a:cubicBezTo>
                  <a:cubicBezTo>
                    <a:pt x="6697" y="1510"/>
                    <a:pt x="6692" y="1492"/>
                    <a:pt x="6692" y="1485"/>
                  </a:cubicBezTo>
                  <a:cubicBezTo>
                    <a:pt x="6692" y="1473"/>
                    <a:pt x="6705" y="1457"/>
                    <a:pt x="6717" y="1448"/>
                  </a:cubicBezTo>
                  <a:cubicBezTo>
                    <a:pt x="6717" y="1448"/>
                    <a:pt x="6717" y="1448"/>
                    <a:pt x="6717" y="1448"/>
                  </a:cubicBezTo>
                  <a:cubicBezTo>
                    <a:pt x="6720" y="1446"/>
                    <a:pt x="6722" y="1444"/>
                    <a:pt x="6725" y="1444"/>
                  </a:cubicBezTo>
                  <a:cubicBezTo>
                    <a:pt x="6733" y="1441"/>
                    <a:pt x="6731" y="1418"/>
                    <a:pt x="6726" y="1393"/>
                  </a:cubicBezTo>
                  <a:cubicBezTo>
                    <a:pt x="6733" y="1393"/>
                    <a:pt x="6733" y="1393"/>
                    <a:pt x="6733" y="1393"/>
                  </a:cubicBezTo>
                  <a:cubicBezTo>
                    <a:pt x="6729" y="1372"/>
                    <a:pt x="6722" y="1349"/>
                    <a:pt x="6714" y="1335"/>
                  </a:cubicBezTo>
                  <a:cubicBezTo>
                    <a:pt x="6708" y="1326"/>
                    <a:pt x="6701" y="1317"/>
                    <a:pt x="6695" y="1310"/>
                  </a:cubicBezTo>
                  <a:cubicBezTo>
                    <a:pt x="6685" y="1310"/>
                    <a:pt x="6685" y="1310"/>
                    <a:pt x="6685" y="1310"/>
                  </a:cubicBezTo>
                  <a:cubicBezTo>
                    <a:pt x="6676" y="1299"/>
                    <a:pt x="6670" y="1292"/>
                    <a:pt x="6679" y="1290"/>
                  </a:cubicBezTo>
                  <a:cubicBezTo>
                    <a:pt x="6689" y="1287"/>
                    <a:pt x="6701" y="1269"/>
                    <a:pt x="6703" y="1256"/>
                  </a:cubicBezTo>
                  <a:cubicBezTo>
                    <a:pt x="6708" y="1256"/>
                    <a:pt x="6708" y="1256"/>
                    <a:pt x="6708" y="1256"/>
                  </a:cubicBezTo>
                  <a:cubicBezTo>
                    <a:pt x="6710" y="1249"/>
                    <a:pt x="6710" y="1243"/>
                    <a:pt x="6707" y="1240"/>
                  </a:cubicBezTo>
                  <a:cubicBezTo>
                    <a:pt x="6696" y="1231"/>
                    <a:pt x="6703" y="1202"/>
                    <a:pt x="6678" y="1211"/>
                  </a:cubicBezTo>
                  <a:cubicBezTo>
                    <a:pt x="6665" y="1215"/>
                    <a:pt x="6634" y="1210"/>
                    <a:pt x="6621" y="1223"/>
                  </a:cubicBezTo>
                  <a:cubicBezTo>
                    <a:pt x="6617" y="1225"/>
                    <a:pt x="6613" y="1228"/>
                    <a:pt x="6611" y="1232"/>
                  </a:cubicBezTo>
                  <a:cubicBezTo>
                    <a:pt x="6600" y="1202"/>
                    <a:pt x="6580" y="1182"/>
                    <a:pt x="6555" y="1186"/>
                  </a:cubicBezTo>
                  <a:cubicBezTo>
                    <a:pt x="6523" y="1190"/>
                    <a:pt x="6506" y="1211"/>
                    <a:pt x="6474" y="1211"/>
                  </a:cubicBezTo>
                  <a:cubicBezTo>
                    <a:pt x="6455" y="1211"/>
                    <a:pt x="6456" y="1190"/>
                    <a:pt x="6458" y="1173"/>
                  </a:cubicBezTo>
                  <a:cubicBezTo>
                    <a:pt x="6451" y="1173"/>
                    <a:pt x="6451" y="1173"/>
                    <a:pt x="6451" y="1173"/>
                  </a:cubicBezTo>
                  <a:cubicBezTo>
                    <a:pt x="6452" y="1164"/>
                    <a:pt x="6451" y="1157"/>
                    <a:pt x="6446" y="1157"/>
                  </a:cubicBezTo>
                  <a:cubicBezTo>
                    <a:pt x="6439" y="1157"/>
                    <a:pt x="6426" y="1172"/>
                    <a:pt x="6413" y="1182"/>
                  </a:cubicBezTo>
                  <a:cubicBezTo>
                    <a:pt x="6405" y="1187"/>
                    <a:pt x="6396" y="1188"/>
                    <a:pt x="6390" y="1177"/>
                  </a:cubicBezTo>
                  <a:cubicBezTo>
                    <a:pt x="6389" y="1176"/>
                    <a:pt x="6389" y="1175"/>
                    <a:pt x="6389" y="1173"/>
                  </a:cubicBezTo>
                  <a:cubicBezTo>
                    <a:pt x="6381" y="1173"/>
                    <a:pt x="6381" y="1173"/>
                    <a:pt x="6381" y="1173"/>
                  </a:cubicBezTo>
                  <a:cubicBezTo>
                    <a:pt x="6379" y="1146"/>
                    <a:pt x="6437" y="1113"/>
                    <a:pt x="6485" y="1094"/>
                  </a:cubicBezTo>
                  <a:cubicBezTo>
                    <a:pt x="6492" y="1092"/>
                    <a:pt x="6499" y="1088"/>
                    <a:pt x="6506" y="1082"/>
                  </a:cubicBezTo>
                  <a:cubicBezTo>
                    <a:pt x="6523" y="1072"/>
                    <a:pt x="6542" y="1055"/>
                    <a:pt x="6561" y="1036"/>
                  </a:cubicBezTo>
                  <a:cubicBezTo>
                    <a:pt x="6559" y="1036"/>
                    <a:pt x="6559" y="1036"/>
                    <a:pt x="6559" y="1036"/>
                  </a:cubicBezTo>
                  <a:cubicBezTo>
                    <a:pt x="6578" y="1017"/>
                    <a:pt x="6597" y="997"/>
                    <a:pt x="6614" y="981"/>
                  </a:cubicBezTo>
                  <a:cubicBezTo>
                    <a:pt x="6617" y="981"/>
                    <a:pt x="6617" y="981"/>
                    <a:pt x="6617" y="981"/>
                  </a:cubicBezTo>
                  <a:cubicBezTo>
                    <a:pt x="6629" y="969"/>
                    <a:pt x="6640" y="960"/>
                    <a:pt x="6649" y="953"/>
                  </a:cubicBezTo>
                  <a:cubicBezTo>
                    <a:pt x="6654" y="951"/>
                    <a:pt x="6658" y="949"/>
                    <a:pt x="6661" y="949"/>
                  </a:cubicBezTo>
                  <a:cubicBezTo>
                    <a:pt x="6696" y="945"/>
                    <a:pt x="6785" y="957"/>
                    <a:pt x="6862" y="953"/>
                  </a:cubicBezTo>
                  <a:cubicBezTo>
                    <a:pt x="6939" y="949"/>
                    <a:pt x="6964" y="911"/>
                    <a:pt x="6989" y="932"/>
                  </a:cubicBezTo>
                  <a:cubicBezTo>
                    <a:pt x="7013" y="953"/>
                    <a:pt x="7066" y="978"/>
                    <a:pt x="7098" y="974"/>
                  </a:cubicBezTo>
                  <a:cubicBezTo>
                    <a:pt x="7115" y="971"/>
                    <a:pt x="7119" y="971"/>
                    <a:pt x="7127" y="965"/>
                  </a:cubicBezTo>
                  <a:cubicBezTo>
                    <a:pt x="7135" y="962"/>
                    <a:pt x="7141" y="954"/>
                    <a:pt x="7171" y="928"/>
                  </a:cubicBezTo>
                  <a:cubicBezTo>
                    <a:pt x="7184" y="917"/>
                    <a:pt x="7197" y="907"/>
                    <a:pt x="7209" y="899"/>
                  </a:cubicBezTo>
                  <a:cubicBezTo>
                    <a:pt x="7209" y="899"/>
                    <a:pt x="7209" y="899"/>
                    <a:pt x="7209" y="899"/>
                  </a:cubicBezTo>
                  <a:cubicBezTo>
                    <a:pt x="7236" y="879"/>
                    <a:pt x="7260" y="863"/>
                    <a:pt x="7277" y="844"/>
                  </a:cubicBezTo>
                  <a:cubicBezTo>
                    <a:pt x="7280" y="844"/>
                    <a:pt x="7280" y="844"/>
                    <a:pt x="7280" y="844"/>
                  </a:cubicBezTo>
                  <a:cubicBezTo>
                    <a:pt x="7283" y="840"/>
                    <a:pt x="7288" y="836"/>
                    <a:pt x="7291" y="832"/>
                  </a:cubicBezTo>
                  <a:cubicBezTo>
                    <a:pt x="7297" y="825"/>
                    <a:pt x="7305" y="818"/>
                    <a:pt x="7313" y="811"/>
                  </a:cubicBezTo>
                  <a:cubicBezTo>
                    <a:pt x="7342" y="794"/>
                    <a:pt x="7377" y="788"/>
                    <a:pt x="7379" y="811"/>
                  </a:cubicBezTo>
                  <a:cubicBezTo>
                    <a:pt x="7383" y="845"/>
                    <a:pt x="7372" y="878"/>
                    <a:pt x="7401" y="878"/>
                  </a:cubicBezTo>
                  <a:cubicBezTo>
                    <a:pt x="7429" y="878"/>
                    <a:pt x="7471" y="845"/>
                    <a:pt x="7506" y="828"/>
                  </a:cubicBezTo>
                  <a:cubicBezTo>
                    <a:pt x="7527" y="818"/>
                    <a:pt x="7546" y="807"/>
                    <a:pt x="7557" y="799"/>
                  </a:cubicBezTo>
                  <a:cubicBezTo>
                    <a:pt x="7561" y="797"/>
                    <a:pt x="7564" y="795"/>
                    <a:pt x="7567" y="793"/>
                  </a:cubicBezTo>
                  <a:cubicBezTo>
                    <a:pt x="7548" y="808"/>
                    <a:pt x="7430" y="903"/>
                    <a:pt x="7393" y="930"/>
                  </a:cubicBezTo>
                  <a:cubicBezTo>
                    <a:pt x="7368" y="946"/>
                    <a:pt x="7324" y="959"/>
                    <a:pt x="7287" y="981"/>
                  </a:cubicBezTo>
                  <a:cubicBezTo>
                    <a:pt x="7287" y="981"/>
                    <a:pt x="7287" y="981"/>
                    <a:pt x="7287" y="981"/>
                  </a:cubicBezTo>
                  <a:cubicBezTo>
                    <a:pt x="7267" y="992"/>
                    <a:pt x="7248" y="1006"/>
                    <a:pt x="7235" y="1024"/>
                  </a:cubicBezTo>
                  <a:cubicBezTo>
                    <a:pt x="7200" y="1073"/>
                    <a:pt x="7179" y="1090"/>
                    <a:pt x="7182" y="1144"/>
                  </a:cubicBezTo>
                  <a:cubicBezTo>
                    <a:pt x="7186" y="1198"/>
                    <a:pt x="7246" y="1269"/>
                    <a:pt x="7217" y="1319"/>
                  </a:cubicBezTo>
                  <a:cubicBezTo>
                    <a:pt x="7189" y="1369"/>
                    <a:pt x="7179" y="1440"/>
                    <a:pt x="7179" y="1440"/>
                  </a:cubicBezTo>
                  <a:cubicBezTo>
                    <a:pt x="7179" y="1440"/>
                    <a:pt x="7191" y="1419"/>
                    <a:pt x="7212" y="1393"/>
                  </a:cubicBezTo>
                  <a:cubicBezTo>
                    <a:pt x="7215" y="1393"/>
                    <a:pt x="7215" y="1393"/>
                    <a:pt x="7215" y="1393"/>
                  </a:cubicBezTo>
                  <a:cubicBezTo>
                    <a:pt x="7233" y="1370"/>
                    <a:pt x="7258" y="1341"/>
                    <a:pt x="7287" y="1319"/>
                  </a:cubicBezTo>
                  <a:cubicBezTo>
                    <a:pt x="7291" y="1316"/>
                    <a:pt x="7294" y="1313"/>
                    <a:pt x="7297" y="1310"/>
                  </a:cubicBezTo>
                  <a:cubicBezTo>
                    <a:pt x="7296" y="1310"/>
                    <a:pt x="7296" y="1310"/>
                    <a:pt x="7296" y="1310"/>
                  </a:cubicBezTo>
                  <a:cubicBezTo>
                    <a:pt x="7316" y="1293"/>
                    <a:pt x="7333" y="1274"/>
                    <a:pt x="7348" y="1256"/>
                  </a:cubicBezTo>
                  <a:cubicBezTo>
                    <a:pt x="7351" y="1256"/>
                    <a:pt x="7351" y="1256"/>
                    <a:pt x="7351" y="1256"/>
                  </a:cubicBezTo>
                  <a:cubicBezTo>
                    <a:pt x="7375" y="1227"/>
                    <a:pt x="7392" y="1200"/>
                    <a:pt x="7404" y="1186"/>
                  </a:cubicBezTo>
                  <a:cubicBezTo>
                    <a:pt x="7406" y="1183"/>
                    <a:pt x="7408" y="1181"/>
                    <a:pt x="7411" y="1179"/>
                  </a:cubicBezTo>
                  <a:cubicBezTo>
                    <a:pt x="7438" y="1163"/>
                    <a:pt x="7482" y="1156"/>
                    <a:pt x="7482" y="1132"/>
                  </a:cubicBezTo>
                  <a:cubicBezTo>
                    <a:pt x="7482" y="1128"/>
                    <a:pt x="7483" y="1123"/>
                    <a:pt x="7483" y="1118"/>
                  </a:cubicBezTo>
                  <a:cubicBezTo>
                    <a:pt x="7489" y="1118"/>
                    <a:pt x="7489" y="1118"/>
                    <a:pt x="7489" y="1118"/>
                  </a:cubicBezTo>
                  <a:cubicBezTo>
                    <a:pt x="7492" y="1093"/>
                    <a:pt x="7504" y="1064"/>
                    <a:pt x="7513" y="1036"/>
                  </a:cubicBezTo>
                  <a:cubicBezTo>
                    <a:pt x="7508" y="1036"/>
                    <a:pt x="7508" y="1036"/>
                    <a:pt x="7508" y="1036"/>
                  </a:cubicBezTo>
                  <a:cubicBezTo>
                    <a:pt x="7509" y="1035"/>
                    <a:pt x="7509" y="1033"/>
                    <a:pt x="7510" y="1032"/>
                  </a:cubicBezTo>
                  <a:cubicBezTo>
                    <a:pt x="7519" y="1004"/>
                    <a:pt x="7498" y="1005"/>
                    <a:pt x="7504" y="981"/>
                  </a:cubicBezTo>
                  <a:cubicBezTo>
                    <a:pt x="7509" y="981"/>
                    <a:pt x="7509" y="981"/>
                    <a:pt x="7509" y="981"/>
                  </a:cubicBezTo>
                  <a:cubicBezTo>
                    <a:pt x="7510" y="976"/>
                    <a:pt x="7512" y="970"/>
                    <a:pt x="7516" y="961"/>
                  </a:cubicBezTo>
                  <a:cubicBezTo>
                    <a:pt x="7529" y="937"/>
                    <a:pt x="7533" y="916"/>
                    <a:pt x="7555" y="902"/>
                  </a:cubicBezTo>
                  <a:cubicBezTo>
                    <a:pt x="7571" y="895"/>
                    <a:pt x="7595" y="890"/>
                    <a:pt x="7633" y="890"/>
                  </a:cubicBezTo>
                  <a:close/>
                  <a:moveTo>
                    <a:pt x="3007" y="1622"/>
                  </a:moveTo>
                  <a:cubicBezTo>
                    <a:pt x="2986" y="1633"/>
                    <a:pt x="2934" y="1641"/>
                    <a:pt x="2915" y="1618"/>
                  </a:cubicBezTo>
                  <a:cubicBezTo>
                    <a:pt x="2904" y="1605"/>
                    <a:pt x="2884" y="1607"/>
                    <a:pt x="2868" y="1619"/>
                  </a:cubicBezTo>
                  <a:cubicBezTo>
                    <a:pt x="2851" y="1628"/>
                    <a:pt x="2836" y="1648"/>
                    <a:pt x="2834" y="1672"/>
                  </a:cubicBezTo>
                  <a:cubicBezTo>
                    <a:pt x="2831" y="1718"/>
                    <a:pt x="2848" y="1685"/>
                    <a:pt x="2870" y="1702"/>
                  </a:cubicBezTo>
                  <a:cubicBezTo>
                    <a:pt x="2891" y="1718"/>
                    <a:pt x="2898" y="1743"/>
                    <a:pt x="2912" y="1768"/>
                  </a:cubicBezTo>
                  <a:cubicBezTo>
                    <a:pt x="2926" y="1793"/>
                    <a:pt x="2950" y="1785"/>
                    <a:pt x="2968" y="1806"/>
                  </a:cubicBezTo>
                  <a:cubicBezTo>
                    <a:pt x="2986" y="1826"/>
                    <a:pt x="2919" y="1851"/>
                    <a:pt x="2947" y="1876"/>
                  </a:cubicBezTo>
                  <a:cubicBezTo>
                    <a:pt x="2975" y="1901"/>
                    <a:pt x="2989" y="2001"/>
                    <a:pt x="2993" y="2026"/>
                  </a:cubicBezTo>
                  <a:cubicBezTo>
                    <a:pt x="2994" y="2031"/>
                    <a:pt x="2990" y="2036"/>
                    <a:pt x="2985" y="2040"/>
                  </a:cubicBezTo>
                  <a:cubicBezTo>
                    <a:pt x="2961" y="2052"/>
                    <a:pt x="2915" y="2058"/>
                    <a:pt x="2897" y="2055"/>
                  </a:cubicBezTo>
                  <a:cubicBezTo>
                    <a:pt x="2873" y="2051"/>
                    <a:pt x="2799" y="2022"/>
                    <a:pt x="2774" y="2013"/>
                  </a:cubicBezTo>
                  <a:cubicBezTo>
                    <a:pt x="2769" y="2012"/>
                    <a:pt x="2764" y="2005"/>
                    <a:pt x="2760" y="1997"/>
                  </a:cubicBezTo>
                  <a:cubicBezTo>
                    <a:pt x="2751" y="1997"/>
                    <a:pt x="2751" y="1997"/>
                    <a:pt x="2751" y="1997"/>
                  </a:cubicBezTo>
                  <a:cubicBezTo>
                    <a:pt x="2745" y="1981"/>
                    <a:pt x="2742" y="1959"/>
                    <a:pt x="2742" y="1942"/>
                  </a:cubicBezTo>
                  <a:cubicBezTo>
                    <a:pt x="2749" y="1942"/>
                    <a:pt x="2749" y="1942"/>
                    <a:pt x="2749" y="1942"/>
                  </a:cubicBezTo>
                  <a:cubicBezTo>
                    <a:pt x="2749" y="1928"/>
                    <a:pt x="2751" y="1916"/>
                    <a:pt x="2757" y="1910"/>
                  </a:cubicBezTo>
                  <a:cubicBezTo>
                    <a:pt x="2758" y="1910"/>
                    <a:pt x="2759" y="1909"/>
                    <a:pt x="2760" y="1910"/>
                  </a:cubicBezTo>
                  <a:cubicBezTo>
                    <a:pt x="2777" y="1912"/>
                    <a:pt x="2787" y="1909"/>
                    <a:pt x="2798" y="1901"/>
                  </a:cubicBezTo>
                  <a:cubicBezTo>
                    <a:pt x="2809" y="1894"/>
                    <a:pt x="2820" y="1881"/>
                    <a:pt x="2841" y="1860"/>
                  </a:cubicBezTo>
                  <a:cubicBezTo>
                    <a:pt x="2841" y="1859"/>
                    <a:pt x="2841" y="1859"/>
                    <a:pt x="2841" y="1859"/>
                  </a:cubicBezTo>
                  <a:cubicBezTo>
                    <a:pt x="2838" y="1859"/>
                    <a:pt x="2838" y="1859"/>
                    <a:pt x="2838" y="1859"/>
                  </a:cubicBezTo>
                  <a:cubicBezTo>
                    <a:pt x="2859" y="1829"/>
                    <a:pt x="2798" y="1813"/>
                    <a:pt x="2767" y="1804"/>
                  </a:cubicBezTo>
                  <a:cubicBezTo>
                    <a:pt x="2789" y="1804"/>
                    <a:pt x="2789" y="1804"/>
                    <a:pt x="2789" y="1804"/>
                  </a:cubicBezTo>
                  <a:cubicBezTo>
                    <a:pt x="2778" y="1801"/>
                    <a:pt x="2769" y="1799"/>
                    <a:pt x="2763" y="1797"/>
                  </a:cubicBezTo>
                  <a:cubicBezTo>
                    <a:pt x="2748" y="1792"/>
                    <a:pt x="2724" y="1756"/>
                    <a:pt x="2704" y="1722"/>
                  </a:cubicBezTo>
                  <a:cubicBezTo>
                    <a:pt x="2695" y="1722"/>
                    <a:pt x="2695" y="1722"/>
                    <a:pt x="2695" y="1722"/>
                  </a:cubicBezTo>
                  <a:cubicBezTo>
                    <a:pt x="2682" y="1702"/>
                    <a:pt x="2672" y="1683"/>
                    <a:pt x="2665" y="1672"/>
                  </a:cubicBezTo>
                  <a:cubicBezTo>
                    <a:pt x="2664" y="1671"/>
                    <a:pt x="2664" y="1669"/>
                    <a:pt x="2663" y="1667"/>
                  </a:cubicBezTo>
                  <a:cubicBezTo>
                    <a:pt x="2672" y="1667"/>
                    <a:pt x="2672" y="1667"/>
                    <a:pt x="2672" y="1667"/>
                  </a:cubicBezTo>
                  <a:cubicBezTo>
                    <a:pt x="2659" y="1645"/>
                    <a:pt x="2664" y="1613"/>
                    <a:pt x="2686" y="1585"/>
                  </a:cubicBezTo>
                  <a:cubicBezTo>
                    <a:pt x="2683" y="1585"/>
                    <a:pt x="2683" y="1585"/>
                    <a:pt x="2683" y="1585"/>
                  </a:cubicBezTo>
                  <a:cubicBezTo>
                    <a:pt x="2689" y="1578"/>
                    <a:pt x="2696" y="1571"/>
                    <a:pt x="2704" y="1564"/>
                  </a:cubicBezTo>
                  <a:cubicBezTo>
                    <a:pt x="2725" y="1548"/>
                    <a:pt x="2782" y="1585"/>
                    <a:pt x="2810" y="1564"/>
                  </a:cubicBezTo>
                  <a:cubicBezTo>
                    <a:pt x="2825" y="1553"/>
                    <a:pt x="2840" y="1540"/>
                    <a:pt x="2853" y="1530"/>
                  </a:cubicBezTo>
                  <a:cubicBezTo>
                    <a:pt x="2854" y="1530"/>
                    <a:pt x="2854" y="1530"/>
                    <a:pt x="2854" y="1530"/>
                  </a:cubicBezTo>
                  <a:cubicBezTo>
                    <a:pt x="2865" y="1521"/>
                    <a:pt x="2873" y="1515"/>
                    <a:pt x="2879" y="1510"/>
                  </a:cubicBezTo>
                  <a:cubicBezTo>
                    <a:pt x="2893" y="1504"/>
                    <a:pt x="2958" y="1524"/>
                    <a:pt x="2968" y="1548"/>
                  </a:cubicBezTo>
                  <a:cubicBezTo>
                    <a:pt x="2979" y="1572"/>
                    <a:pt x="3020" y="1610"/>
                    <a:pt x="3007" y="1622"/>
                  </a:cubicBezTo>
                  <a:close/>
                  <a:moveTo>
                    <a:pt x="1907" y="1804"/>
                  </a:moveTo>
                  <a:cubicBezTo>
                    <a:pt x="1913" y="1804"/>
                    <a:pt x="1913" y="1804"/>
                    <a:pt x="1913" y="1804"/>
                  </a:cubicBezTo>
                  <a:cubicBezTo>
                    <a:pt x="1915" y="1788"/>
                    <a:pt x="1914" y="1772"/>
                    <a:pt x="1904" y="1768"/>
                  </a:cubicBezTo>
                  <a:cubicBezTo>
                    <a:pt x="1891" y="1763"/>
                    <a:pt x="1897" y="1741"/>
                    <a:pt x="1909" y="1722"/>
                  </a:cubicBezTo>
                  <a:cubicBezTo>
                    <a:pt x="1905" y="1722"/>
                    <a:pt x="1905" y="1722"/>
                    <a:pt x="1905" y="1722"/>
                  </a:cubicBezTo>
                  <a:cubicBezTo>
                    <a:pt x="1911" y="1712"/>
                    <a:pt x="1919" y="1703"/>
                    <a:pt x="1926" y="1697"/>
                  </a:cubicBezTo>
                  <a:cubicBezTo>
                    <a:pt x="1934" y="1691"/>
                    <a:pt x="1943" y="1680"/>
                    <a:pt x="1952" y="1667"/>
                  </a:cubicBezTo>
                  <a:cubicBezTo>
                    <a:pt x="1956" y="1667"/>
                    <a:pt x="1956" y="1667"/>
                    <a:pt x="1956" y="1667"/>
                  </a:cubicBezTo>
                  <a:cubicBezTo>
                    <a:pt x="1971" y="1647"/>
                    <a:pt x="1986" y="1620"/>
                    <a:pt x="1999" y="1593"/>
                  </a:cubicBezTo>
                  <a:cubicBezTo>
                    <a:pt x="2001" y="1590"/>
                    <a:pt x="2003" y="1588"/>
                    <a:pt x="2004" y="1585"/>
                  </a:cubicBezTo>
                  <a:cubicBezTo>
                    <a:pt x="2000" y="1585"/>
                    <a:pt x="2000" y="1585"/>
                    <a:pt x="2000" y="1585"/>
                  </a:cubicBezTo>
                  <a:cubicBezTo>
                    <a:pt x="2020" y="1555"/>
                    <a:pt x="2044" y="1552"/>
                    <a:pt x="2060" y="1556"/>
                  </a:cubicBezTo>
                  <a:cubicBezTo>
                    <a:pt x="2077" y="1560"/>
                    <a:pt x="2116" y="1635"/>
                    <a:pt x="2127" y="1660"/>
                  </a:cubicBezTo>
                  <a:cubicBezTo>
                    <a:pt x="2134" y="1677"/>
                    <a:pt x="2152" y="1667"/>
                    <a:pt x="2168" y="1656"/>
                  </a:cubicBezTo>
                  <a:cubicBezTo>
                    <a:pt x="2178" y="1650"/>
                    <a:pt x="2187" y="1643"/>
                    <a:pt x="2193" y="1639"/>
                  </a:cubicBezTo>
                  <a:cubicBezTo>
                    <a:pt x="2207" y="1631"/>
                    <a:pt x="2228" y="1606"/>
                    <a:pt x="2232" y="1585"/>
                  </a:cubicBezTo>
                  <a:cubicBezTo>
                    <a:pt x="2232" y="1585"/>
                    <a:pt x="2232" y="1585"/>
                    <a:pt x="2232" y="1585"/>
                  </a:cubicBezTo>
                  <a:cubicBezTo>
                    <a:pt x="2227" y="1585"/>
                    <a:pt x="2227" y="1585"/>
                    <a:pt x="2227" y="1585"/>
                  </a:cubicBezTo>
                  <a:cubicBezTo>
                    <a:pt x="2234" y="1567"/>
                    <a:pt x="2263" y="1556"/>
                    <a:pt x="2296" y="1556"/>
                  </a:cubicBezTo>
                  <a:cubicBezTo>
                    <a:pt x="2321" y="1556"/>
                    <a:pt x="2312" y="1573"/>
                    <a:pt x="2295" y="1586"/>
                  </a:cubicBezTo>
                  <a:cubicBezTo>
                    <a:pt x="2290" y="1589"/>
                    <a:pt x="2286" y="1592"/>
                    <a:pt x="2281" y="1593"/>
                  </a:cubicBezTo>
                  <a:cubicBezTo>
                    <a:pt x="2277" y="1595"/>
                    <a:pt x="2274" y="1597"/>
                    <a:pt x="2272" y="1599"/>
                  </a:cubicBezTo>
                  <a:cubicBezTo>
                    <a:pt x="2252" y="1608"/>
                    <a:pt x="2266" y="1623"/>
                    <a:pt x="2306" y="1639"/>
                  </a:cubicBezTo>
                  <a:cubicBezTo>
                    <a:pt x="2348" y="1656"/>
                    <a:pt x="2387" y="1702"/>
                    <a:pt x="2433" y="1731"/>
                  </a:cubicBezTo>
                  <a:cubicBezTo>
                    <a:pt x="2479" y="1760"/>
                    <a:pt x="2486" y="1818"/>
                    <a:pt x="2458" y="1826"/>
                  </a:cubicBezTo>
                  <a:cubicBezTo>
                    <a:pt x="2429" y="1835"/>
                    <a:pt x="2345" y="1843"/>
                    <a:pt x="2313" y="1839"/>
                  </a:cubicBezTo>
                  <a:cubicBezTo>
                    <a:pt x="2292" y="1836"/>
                    <a:pt x="2268" y="1818"/>
                    <a:pt x="2240" y="1804"/>
                  </a:cubicBezTo>
                  <a:cubicBezTo>
                    <a:pt x="2255" y="1804"/>
                    <a:pt x="2255" y="1804"/>
                    <a:pt x="2255" y="1804"/>
                  </a:cubicBezTo>
                  <a:cubicBezTo>
                    <a:pt x="2239" y="1796"/>
                    <a:pt x="2222" y="1788"/>
                    <a:pt x="2204" y="1785"/>
                  </a:cubicBezTo>
                  <a:cubicBezTo>
                    <a:pt x="2166" y="1778"/>
                    <a:pt x="2123" y="1780"/>
                    <a:pt x="2098" y="1796"/>
                  </a:cubicBezTo>
                  <a:cubicBezTo>
                    <a:pt x="2089" y="1801"/>
                    <a:pt x="2082" y="1806"/>
                    <a:pt x="2077" y="1814"/>
                  </a:cubicBezTo>
                  <a:cubicBezTo>
                    <a:pt x="2060" y="1843"/>
                    <a:pt x="1996" y="1831"/>
                    <a:pt x="1968" y="1831"/>
                  </a:cubicBezTo>
                  <a:cubicBezTo>
                    <a:pt x="1940" y="1831"/>
                    <a:pt x="1905" y="1872"/>
                    <a:pt x="1898" y="1856"/>
                  </a:cubicBezTo>
                  <a:cubicBezTo>
                    <a:pt x="1898" y="1856"/>
                    <a:pt x="1906" y="1828"/>
                    <a:pt x="1907" y="1804"/>
                  </a:cubicBezTo>
                  <a:close/>
                  <a:moveTo>
                    <a:pt x="2074" y="3863"/>
                  </a:moveTo>
                  <a:cubicBezTo>
                    <a:pt x="2076" y="3853"/>
                    <a:pt x="2078" y="3844"/>
                    <a:pt x="2081" y="3840"/>
                  </a:cubicBezTo>
                  <a:cubicBezTo>
                    <a:pt x="2082" y="3837"/>
                    <a:pt x="2084" y="3835"/>
                    <a:pt x="2086" y="3833"/>
                  </a:cubicBezTo>
                  <a:cubicBezTo>
                    <a:pt x="2107" y="3822"/>
                    <a:pt x="2147" y="3821"/>
                    <a:pt x="2155" y="3835"/>
                  </a:cubicBezTo>
                  <a:cubicBezTo>
                    <a:pt x="2169" y="3862"/>
                    <a:pt x="2135" y="3938"/>
                    <a:pt x="2105" y="3962"/>
                  </a:cubicBezTo>
                  <a:cubicBezTo>
                    <a:pt x="2100" y="3964"/>
                    <a:pt x="2095" y="3965"/>
                    <a:pt x="2091" y="3964"/>
                  </a:cubicBezTo>
                  <a:cubicBezTo>
                    <a:pt x="2077" y="3961"/>
                    <a:pt x="2072" y="3941"/>
                    <a:pt x="2071" y="3918"/>
                  </a:cubicBezTo>
                  <a:cubicBezTo>
                    <a:pt x="2064" y="3918"/>
                    <a:pt x="2064" y="3918"/>
                    <a:pt x="2064" y="3918"/>
                  </a:cubicBezTo>
                  <a:cubicBezTo>
                    <a:pt x="2063" y="3899"/>
                    <a:pt x="2065" y="3878"/>
                    <a:pt x="2068" y="3863"/>
                  </a:cubicBezTo>
                  <a:lnTo>
                    <a:pt x="2074" y="3863"/>
                  </a:lnTo>
                  <a:close/>
                  <a:moveTo>
                    <a:pt x="2067" y="899"/>
                  </a:moveTo>
                  <a:cubicBezTo>
                    <a:pt x="2039" y="891"/>
                    <a:pt x="2011" y="871"/>
                    <a:pt x="2018" y="849"/>
                  </a:cubicBezTo>
                  <a:cubicBezTo>
                    <a:pt x="2018" y="847"/>
                    <a:pt x="2019" y="845"/>
                    <a:pt x="2020" y="844"/>
                  </a:cubicBezTo>
                  <a:cubicBezTo>
                    <a:pt x="2024" y="844"/>
                    <a:pt x="2024" y="844"/>
                    <a:pt x="2024" y="844"/>
                  </a:cubicBezTo>
                  <a:cubicBezTo>
                    <a:pt x="2027" y="837"/>
                    <a:pt x="2031" y="832"/>
                    <a:pt x="2035" y="828"/>
                  </a:cubicBezTo>
                  <a:cubicBezTo>
                    <a:pt x="2068" y="816"/>
                    <a:pt x="2130" y="867"/>
                    <a:pt x="2116" y="890"/>
                  </a:cubicBezTo>
                  <a:cubicBezTo>
                    <a:pt x="2114" y="894"/>
                    <a:pt x="2110" y="897"/>
                    <a:pt x="2106" y="899"/>
                  </a:cubicBezTo>
                  <a:lnTo>
                    <a:pt x="2067" y="899"/>
                  </a:ln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9" name="Freeform 23"/>
            <p:cNvSpPr>
              <a:spLocks/>
            </p:cNvSpPr>
            <p:nvPr/>
          </p:nvSpPr>
          <p:spPr bwMode="auto">
            <a:xfrm>
              <a:off x="5718175" y="2051050"/>
              <a:ext cx="422275" cy="207963"/>
            </a:xfrm>
            <a:custGeom>
              <a:avLst/>
              <a:gdLst>
                <a:gd name="T0" fmla="*/ 21 w 745"/>
                <a:gd name="T1" fmla="*/ 296 h 367"/>
                <a:gd name="T2" fmla="*/ 126 w 745"/>
                <a:gd name="T3" fmla="*/ 334 h 367"/>
                <a:gd name="T4" fmla="*/ 238 w 745"/>
                <a:gd name="T5" fmla="*/ 345 h 367"/>
                <a:gd name="T6" fmla="*/ 252 w 745"/>
                <a:gd name="T7" fmla="*/ 334 h 367"/>
                <a:gd name="T8" fmla="*/ 262 w 745"/>
                <a:gd name="T9" fmla="*/ 301 h 367"/>
                <a:gd name="T10" fmla="*/ 254 w 745"/>
                <a:gd name="T11" fmla="*/ 301 h 367"/>
                <a:gd name="T12" fmla="*/ 232 w 745"/>
                <a:gd name="T13" fmla="*/ 267 h 367"/>
                <a:gd name="T14" fmla="*/ 217 w 745"/>
                <a:gd name="T15" fmla="*/ 246 h 367"/>
                <a:gd name="T16" fmla="*/ 224 w 745"/>
                <a:gd name="T17" fmla="*/ 246 h 367"/>
                <a:gd name="T18" fmla="*/ 256 w 745"/>
                <a:gd name="T19" fmla="*/ 197 h 367"/>
                <a:gd name="T20" fmla="*/ 301 w 745"/>
                <a:gd name="T21" fmla="*/ 167 h 367"/>
                <a:gd name="T22" fmla="*/ 397 w 745"/>
                <a:gd name="T23" fmla="*/ 126 h 367"/>
                <a:gd name="T24" fmla="*/ 612 w 745"/>
                <a:gd name="T25" fmla="*/ 126 h 367"/>
                <a:gd name="T26" fmla="*/ 671 w 745"/>
                <a:gd name="T27" fmla="*/ 109 h 367"/>
                <a:gd name="T28" fmla="*/ 671 w 745"/>
                <a:gd name="T29" fmla="*/ 109 h 367"/>
                <a:gd name="T30" fmla="*/ 742 w 745"/>
                <a:gd name="T31" fmla="*/ 39 h 367"/>
                <a:gd name="T32" fmla="*/ 744 w 745"/>
                <a:gd name="T33" fmla="*/ 26 h 367"/>
                <a:gd name="T34" fmla="*/ 735 w 745"/>
                <a:gd name="T35" fmla="*/ 26 h 367"/>
                <a:gd name="T36" fmla="*/ 658 w 745"/>
                <a:gd name="T37" fmla="*/ 26 h 367"/>
                <a:gd name="T38" fmla="*/ 653 w 745"/>
                <a:gd name="T39" fmla="*/ 31 h 367"/>
                <a:gd name="T40" fmla="*/ 520 w 745"/>
                <a:gd name="T41" fmla="*/ 39 h 367"/>
                <a:gd name="T42" fmla="*/ 295 w 745"/>
                <a:gd name="T43" fmla="*/ 72 h 367"/>
                <a:gd name="T44" fmla="*/ 270 w 745"/>
                <a:gd name="T45" fmla="*/ 82 h 367"/>
                <a:gd name="T46" fmla="*/ 190 w 745"/>
                <a:gd name="T47" fmla="*/ 151 h 367"/>
                <a:gd name="T48" fmla="*/ 165 w 745"/>
                <a:gd name="T49" fmla="*/ 164 h 367"/>
                <a:gd name="T50" fmla="*/ 164 w 745"/>
                <a:gd name="T51" fmla="*/ 164 h 367"/>
                <a:gd name="T52" fmla="*/ 55 w 745"/>
                <a:gd name="T53" fmla="*/ 222 h 367"/>
                <a:gd name="T54" fmla="*/ 52 w 745"/>
                <a:gd name="T55" fmla="*/ 224 h 367"/>
                <a:gd name="T56" fmla="*/ 49 w 745"/>
                <a:gd name="T57" fmla="*/ 226 h 367"/>
                <a:gd name="T58" fmla="*/ 21 w 745"/>
                <a:gd name="T59" fmla="*/ 29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745" h="367">
                  <a:moveTo>
                    <a:pt x="21" y="296"/>
                  </a:moveTo>
                  <a:cubicBezTo>
                    <a:pt x="42" y="305"/>
                    <a:pt x="87" y="309"/>
                    <a:pt x="126" y="334"/>
                  </a:cubicBezTo>
                  <a:cubicBezTo>
                    <a:pt x="161" y="357"/>
                    <a:pt x="210" y="367"/>
                    <a:pt x="238" y="345"/>
                  </a:cubicBezTo>
                  <a:cubicBezTo>
                    <a:pt x="243" y="342"/>
                    <a:pt x="248" y="339"/>
                    <a:pt x="252" y="334"/>
                  </a:cubicBezTo>
                  <a:cubicBezTo>
                    <a:pt x="261" y="324"/>
                    <a:pt x="263" y="312"/>
                    <a:pt x="262" y="301"/>
                  </a:cubicBezTo>
                  <a:cubicBezTo>
                    <a:pt x="254" y="301"/>
                    <a:pt x="254" y="301"/>
                    <a:pt x="254" y="301"/>
                  </a:cubicBezTo>
                  <a:cubicBezTo>
                    <a:pt x="252" y="284"/>
                    <a:pt x="242" y="270"/>
                    <a:pt x="232" y="267"/>
                  </a:cubicBezTo>
                  <a:cubicBezTo>
                    <a:pt x="224" y="265"/>
                    <a:pt x="217" y="257"/>
                    <a:pt x="217" y="246"/>
                  </a:cubicBezTo>
                  <a:cubicBezTo>
                    <a:pt x="224" y="246"/>
                    <a:pt x="224" y="246"/>
                    <a:pt x="224" y="246"/>
                  </a:cubicBezTo>
                  <a:cubicBezTo>
                    <a:pt x="222" y="233"/>
                    <a:pt x="229" y="214"/>
                    <a:pt x="256" y="197"/>
                  </a:cubicBezTo>
                  <a:cubicBezTo>
                    <a:pt x="271" y="187"/>
                    <a:pt x="286" y="177"/>
                    <a:pt x="301" y="167"/>
                  </a:cubicBezTo>
                  <a:cubicBezTo>
                    <a:pt x="332" y="148"/>
                    <a:pt x="364" y="131"/>
                    <a:pt x="397" y="126"/>
                  </a:cubicBezTo>
                  <a:cubicBezTo>
                    <a:pt x="450" y="118"/>
                    <a:pt x="570" y="113"/>
                    <a:pt x="612" y="126"/>
                  </a:cubicBezTo>
                  <a:cubicBezTo>
                    <a:pt x="630" y="131"/>
                    <a:pt x="651" y="122"/>
                    <a:pt x="671" y="109"/>
                  </a:cubicBezTo>
                  <a:cubicBezTo>
                    <a:pt x="671" y="109"/>
                    <a:pt x="671" y="109"/>
                    <a:pt x="671" y="109"/>
                  </a:cubicBezTo>
                  <a:cubicBezTo>
                    <a:pt x="702" y="90"/>
                    <a:pt x="731" y="57"/>
                    <a:pt x="742" y="39"/>
                  </a:cubicBezTo>
                  <a:cubicBezTo>
                    <a:pt x="745" y="34"/>
                    <a:pt x="745" y="30"/>
                    <a:pt x="744" y="26"/>
                  </a:cubicBezTo>
                  <a:cubicBezTo>
                    <a:pt x="735" y="26"/>
                    <a:pt x="735" y="26"/>
                    <a:pt x="735" y="26"/>
                  </a:cubicBezTo>
                  <a:cubicBezTo>
                    <a:pt x="724" y="8"/>
                    <a:pt x="675" y="0"/>
                    <a:pt x="658" y="26"/>
                  </a:cubicBezTo>
                  <a:cubicBezTo>
                    <a:pt x="657" y="28"/>
                    <a:pt x="654" y="29"/>
                    <a:pt x="653" y="31"/>
                  </a:cubicBezTo>
                  <a:cubicBezTo>
                    <a:pt x="619" y="52"/>
                    <a:pt x="539" y="46"/>
                    <a:pt x="520" y="39"/>
                  </a:cubicBezTo>
                  <a:cubicBezTo>
                    <a:pt x="499" y="30"/>
                    <a:pt x="330" y="72"/>
                    <a:pt x="295" y="72"/>
                  </a:cubicBezTo>
                  <a:cubicBezTo>
                    <a:pt x="285" y="72"/>
                    <a:pt x="277" y="76"/>
                    <a:pt x="270" y="82"/>
                  </a:cubicBezTo>
                  <a:cubicBezTo>
                    <a:pt x="246" y="95"/>
                    <a:pt x="229" y="131"/>
                    <a:pt x="190" y="151"/>
                  </a:cubicBezTo>
                  <a:cubicBezTo>
                    <a:pt x="182" y="155"/>
                    <a:pt x="174" y="159"/>
                    <a:pt x="165" y="164"/>
                  </a:cubicBezTo>
                  <a:cubicBezTo>
                    <a:pt x="164" y="164"/>
                    <a:pt x="164" y="164"/>
                    <a:pt x="164" y="164"/>
                  </a:cubicBezTo>
                  <a:cubicBezTo>
                    <a:pt x="121" y="186"/>
                    <a:pt x="75" y="212"/>
                    <a:pt x="55" y="222"/>
                  </a:cubicBezTo>
                  <a:cubicBezTo>
                    <a:pt x="54" y="222"/>
                    <a:pt x="53" y="223"/>
                    <a:pt x="52" y="224"/>
                  </a:cubicBezTo>
                  <a:cubicBezTo>
                    <a:pt x="51" y="225"/>
                    <a:pt x="50" y="225"/>
                    <a:pt x="49" y="226"/>
                  </a:cubicBezTo>
                  <a:cubicBezTo>
                    <a:pt x="24" y="238"/>
                    <a:pt x="0" y="288"/>
                    <a:pt x="21" y="296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0" name="Freeform 24"/>
            <p:cNvSpPr>
              <a:spLocks/>
            </p:cNvSpPr>
            <p:nvPr/>
          </p:nvSpPr>
          <p:spPr bwMode="auto">
            <a:xfrm>
              <a:off x="7559675" y="3038475"/>
              <a:ext cx="306387" cy="296863"/>
            </a:xfrm>
            <a:custGeom>
              <a:avLst/>
              <a:gdLst>
                <a:gd name="T0" fmla="*/ 376 w 539"/>
                <a:gd name="T1" fmla="*/ 247 h 523"/>
                <a:gd name="T2" fmla="*/ 374 w 539"/>
                <a:gd name="T3" fmla="*/ 248 h 523"/>
                <a:gd name="T4" fmla="*/ 290 w 539"/>
                <a:gd name="T5" fmla="*/ 286 h 523"/>
                <a:gd name="T6" fmla="*/ 258 w 539"/>
                <a:gd name="T7" fmla="*/ 311 h 523"/>
                <a:gd name="T8" fmla="*/ 121 w 539"/>
                <a:gd name="T9" fmla="*/ 311 h 523"/>
                <a:gd name="T10" fmla="*/ 61 w 539"/>
                <a:gd name="T11" fmla="*/ 373 h 523"/>
                <a:gd name="T12" fmla="*/ 18 w 539"/>
                <a:gd name="T13" fmla="*/ 390 h 523"/>
                <a:gd name="T14" fmla="*/ 4 w 539"/>
                <a:gd name="T15" fmla="*/ 427 h 523"/>
                <a:gd name="T16" fmla="*/ 61 w 539"/>
                <a:gd name="T17" fmla="*/ 523 h 523"/>
                <a:gd name="T18" fmla="*/ 89 w 539"/>
                <a:gd name="T19" fmla="*/ 512 h 523"/>
                <a:gd name="T20" fmla="*/ 112 w 539"/>
                <a:gd name="T21" fmla="*/ 485 h 523"/>
                <a:gd name="T22" fmla="*/ 107 w 539"/>
                <a:gd name="T23" fmla="*/ 485 h 523"/>
                <a:gd name="T24" fmla="*/ 110 w 539"/>
                <a:gd name="T25" fmla="*/ 460 h 523"/>
                <a:gd name="T26" fmla="*/ 184 w 539"/>
                <a:gd name="T27" fmla="*/ 456 h 523"/>
                <a:gd name="T28" fmla="*/ 216 w 539"/>
                <a:gd name="T29" fmla="*/ 430 h 523"/>
                <a:gd name="T30" fmla="*/ 220 w 539"/>
                <a:gd name="T31" fmla="*/ 430 h 523"/>
                <a:gd name="T32" fmla="*/ 237 w 539"/>
                <a:gd name="T33" fmla="*/ 394 h 523"/>
                <a:gd name="T34" fmla="*/ 262 w 539"/>
                <a:gd name="T35" fmla="*/ 419 h 523"/>
                <a:gd name="T36" fmla="*/ 303 w 539"/>
                <a:gd name="T37" fmla="*/ 413 h 523"/>
                <a:gd name="T38" fmla="*/ 324 w 539"/>
                <a:gd name="T39" fmla="*/ 381 h 523"/>
                <a:gd name="T40" fmla="*/ 328 w 539"/>
                <a:gd name="T41" fmla="*/ 376 h 523"/>
                <a:gd name="T42" fmla="*/ 409 w 539"/>
                <a:gd name="T43" fmla="*/ 340 h 523"/>
                <a:gd name="T44" fmla="*/ 482 w 539"/>
                <a:gd name="T45" fmla="*/ 293 h 523"/>
                <a:gd name="T46" fmla="*/ 485 w 539"/>
                <a:gd name="T47" fmla="*/ 293 h 523"/>
                <a:gd name="T48" fmla="*/ 490 w 539"/>
                <a:gd name="T49" fmla="*/ 286 h 523"/>
                <a:gd name="T50" fmla="*/ 494 w 539"/>
                <a:gd name="T51" fmla="*/ 211 h 523"/>
                <a:gd name="T52" fmla="*/ 488 w 539"/>
                <a:gd name="T53" fmla="*/ 211 h 523"/>
                <a:gd name="T54" fmla="*/ 501 w 539"/>
                <a:gd name="T55" fmla="*/ 169 h 523"/>
                <a:gd name="T56" fmla="*/ 524 w 539"/>
                <a:gd name="T57" fmla="*/ 156 h 523"/>
                <a:gd name="T58" fmla="*/ 527 w 539"/>
                <a:gd name="T59" fmla="*/ 156 h 523"/>
                <a:gd name="T60" fmla="*/ 522 w 539"/>
                <a:gd name="T61" fmla="*/ 99 h 523"/>
                <a:gd name="T62" fmla="*/ 511 w 539"/>
                <a:gd name="T63" fmla="*/ 73 h 523"/>
                <a:gd name="T64" fmla="*/ 503 w 539"/>
                <a:gd name="T65" fmla="*/ 73 h 523"/>
                <a:gd name="T66" fmla="*/ 481 w 539"/>
                <a:gd name="T67" fmla="*/ 18 h 523"/>
                <a:gd name="T68" fmla="*/ 490 w 539"/>
                <a:gd name="T69" fmla="*/ 18 h 523"/>
                <a:gd name="T70" fmla="*/ 458 w 539"/>
                <a:gd name="T71" fmla="*/ 11 h 523"/>
                <a:gd name="T72" fmla="*/ 457 w 539"/>
                <a:gd name="T73" fmla="*/ 13 h 523"/>
                <a:gd name="T74" fmla="*/ 452 w 539"/>
                <a:gd name="T75" fmla="*/ 15 h 523"/>
                <a:gd name="T76" fmla="*/ 420 w 539"/>
                <a:gd name="T77" fmla="*/ 157 h 523"/>
                <a:gd name="T78" fmla="*/ 376 w 539"/>
                <a:gd name="T79" fmla="*/ 247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39" h="523">
                  <a:moveTo>
                    <a:pt x="376" y="247"/>
                  </a:moveTo>
                  <a:cubicBezTo>
                    <a:pt x="375" y="248"/>
                    <a:pt x="374" y="248"/>
                    <a:pt x="374" y="248"/>
                  </a:cubicBezTo>
                  <a:cubicBezTo>
                    <a:pt x="363" y="248"/>
                    <a:pt x="320" y="267"/>
                    <a:pt x="290" y="286"/>
                  </a:cubicBezTo>
                  <a:cubicBezTo>
                    <a:pt x="276" y="295"/>
                    <a:pt x="265" y="303"/>
                    <a:pt x="258" y="311"/>
                  </a:cubicBezTo>
                  <a:cubicBezTo>
                    <a:pt x="237" y="336"/>
                    <a:pt x="135" y="290"/>
                    <a:pt x="121" y="311"/>
                  </a:cubicBezTo>
                  <a:cubicBezTo>
                    <a:pt x="107" y="332"/>
                    <a:pt x="79" y="356"/>
                    <a:pt x="61" y="373"/>
                  </a:cubicBezTo>
                  <a:cubicBezTo>
                    <a:pt x="48" y="379"/>
                    <a:pt x="29" y="380"/>
                    <a:pt x="18" y="390"/>
                  </a:cubicBezTo>
                  <a:cubicBezTo>
                    <a:pt x="7" y="395"/>
                    <a:pt x="0" y="405"/>
                    <a:pt x="4" y="427"/>
                  </a:cubicBezTo>
                  <a:cubicBezTo>
                    <a:pt x="15" y="477"/>
                    <a:pt x="40" y="523"/>
                    <a:pt x="61" y="523"/>
                  </a:cubicBezTo>
                  <a:cubicBezTo>
                    <a:pt x="70" y="523"/>
                    <a:pt x="80" y="520"/>
                    <a:pt x="89" y="512"/>
                  </a:cubicBezTo>
                  <a:cubicBezTo>
                    <a:pt x="98" y="507"/>
                    <a:pt x="107" y="499"/>
                    <a:pt x="112" y="485"/>
                  </a:cubicBezTo>
                  <a:cubicBezTo>
                    <a:pt x="107" y="485"/>
                    <a:pt x="107" y="485"/>
                    <a:pt x="107" y="485"/>
                  </a:cubicBezTo>
                  <a:cubicBezTo>
                    <a:pt x="109" y="478"/>
                    <a:pt x="110" y="470"/>
                    <a:pt x="110" y="460"/>
                  </a:cubicBezTo>
                  <a:cubicBezTo>
                    <a:pt x="110" y="415"/>
                    <a:pt x="159" y="460"/>
                    <a:pt x="184" y="456"/>
                  </a:cubicBezTo>
                  <a:cubicBezTo>
                    <a:pt x="198" y="454"/>
                    <a:pt x="208" y="444"/>
                    <a:pt x="216" y="430"/>
                  </a:cubicBezTo>
                  <a:cubicBezTo>
                    <a:pt x="220" y="430"/>
                    <a:pt x="220" y="430"/>
                    <a:pt x="220" y="430"/>
                  </a:cubicBezTo>
                  <a:cubicBezTo>
                    <a:pt x="227" y="420"/>
                    <a:pt x="232" y="408"/>
                    <a:pt x="237" y="394"/>
                  </a:cubicBezTo>
                  <a:cubicBezTo>
                    <a:pt x="239" y="403"/>
                    <a:pt x="245" y="414"/>
                    <a:pt x="262" y="419"/>
                  </a:cubicBezTo>
                  <a:cubicBezTo>
                    <a:pt x="281" y="425"/>
                    <a:pt x="294" y="421"/>
                    <a:pt x="303" y="413"/>
                  </a:cubicBezTo>
                  <a:cubicBezTo>
                    <a:pt x="318" y="406"/>
                    <a:pt x="324" y="389"/>
                    <a:pt x="324" y="381"/>
                  </a:cubicBezTo>
                  <a:cubicBezTo>
                    <a:pt x="324" y="380"/>
                    <a:pt x="326" y="378"/>
                    <a:pt x="328" y="376"/>
                  </a:cubicBezTo>
                  <a:cubicBezTo>
                    <a:pt x="350" y="364"/>
                    <a:pt x="398" y="350"/>
                    <a:pt x="409" y="340"/>
                  </a:cubicBezTo>
                  <a:cubicBezTo>
                    <a:pt x="423" y="328"/>
                    <a:pt x="473" y="309"/>
                    <a:pt x="482" y="293"/>
                  </a:cubicBezTo>
                  <a:cubicBezTo>
                    <a:pt x="485" y="293"/>
                    <a:pt x="485" y="293"/>
                    <a:pt x="485" y="293"/>
                  </a:cubicBezTo>
                  <a:cubicBezTo>
                    <a:pt x="488" y="290"/>
                    <a:pt x="490" y="288"/>
                    <a:pt x="490" y="286"/>
                  </a:cubicBezTo>
                  <a:cubicBezTo>
                    <a:pt x="492" y="276"/>
                    <a:pt x="492" y="241"/>
                    <a:pt x="494" y="211"/>
                  </a:cubicBezTo>
                  <a:cubicBezTo>
                    <a:pt x="488" y="211"/>
                    <a:pt x="488" y="211"/>
                    <a:pt x="488" y="211"/>
                  </a:cubicBezTo>
                  <a:cubicBezTo>
                    <a:pt x="490" y="190"/>
                    <a:pt x="494" y="173"/>
                    <a:pt x="501" y="169"/>
                  </a:cubicBezTo>
                  <a:cubicBezTo>
                    <a:pt x="509" y="165"/>
                    <a:pt x="519" y="163"/>
                    <a:pt x="524" y="156"/>
                  </a:cubicBezTo>
                  <a:cubicBezTo>
                    <a:pt x="527" y="156"/>
                    <a:pt x="527" y="156"/>
                    <a:pt x="527" y="156"/>
                  </a:cubicBezTo>
                  <a:cubicBezTo>
                    <a:pt x="536" y="149"/>
                    <a:pt x="539" y="135"/>
                    <a:pt x="522" y="99"/>
                  </a:cubicBezTo>
                  <a:cubicBezTo>
                    <a:pt x="517" y="90"/>
                    <a:pt x="514" y="82"/>
                    <a:pt x="511" y="73"/>
                  </a:cubicBezTo>
                  <a:cubicBezTo>
                    <a:pt x="503" y="73"/>
                    <a:pt x="503" y="73"/>
                    <a:pt x="503" y="73"/>
                  </a:cubicBezTo>
                  <a:cubicBezTo>
                    <a:pt x="494" y="50"/>
                    <a:pt x="488" y="30"/>
                    <a:pt x="481" y="18"/>
                  </a:cubicBezTo>
                  <a:cubicBezTo>
                    <a:pt x="490" y="18"/>
                    <a:pt x="490" y="18"/>
                    <a:pt x="490" y="18"/>
                  </a:cubicBezTo>
                  <a:cubicBezTo>
                    <a:pt x="482" y="5"/>
                    <a:pt x="474" y="0"/>
                    <a:pt x="458" y="11"/>
                  </a:cubicBezTo>
                  <a:cubicBezTo>
                    <a:pt x="458" y="12"/>
                    <a:pt x="457" y="12"/>
                    <a:pt x="457" y="13"/>
                  </a:cubicBezTo>
                  <a:cubicBezTo>
                    <a:pt x="455" y="14"/>
                    <a:pt x="454" y="14"/>
                    <a:pt x="452" y="15"/>
                  </a:cubicBezTo>
                  <a:cubicBezTo>
                    <a:pt x="426" y="34"/>
                    <a:pt x="441" y="107"/>
                    <a:pt x="420" y="157"/>
                  </a:cubicBezTo>
                  <a:cubicBezTo>
                    <a:pt x="403" y="197"/>
                    <a:pt x="388" y="235"/>
                    <a:pt x="376" y="247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1" name="Freeform 25"/>
            <p:cNvSpPr>
              <a:spLocks/>
            </p:cNvSpPr>
            <p:nvPr/>
          </p:nvSpPr>
          <p:spPr bwMode="auto">
            <a:xfrm>
              <a:off x="6992938" y="4365625"/>
              <a:ext cx="228600" cy="92075"/>
            </a:xfrm>
            <a:custGeom>
              <a:avLst/>
              <a:gdLst>
                <a:gd name="T0" fmla="*/ 389 w 402"/>
                <a:gd name="T1" fmla="*/ 146 h 162"/>
                <a:gd name="T2" fmla="*/ 398 w 402"/>
                <a:gd name="T3" fmla="*/ 138 h 162"/>
                <a:gd name="T4" fmla="*/ 342 w 402"/>
                <a:gd name="T5" fmla="*/ 75 h 162"/>
                <a:gd name="T6" fmla="*/ 314 w 402"/>
                <a:gd name="T7" fmla="*/ 70 h 162"/>
                <a:gd name="T8" fmla="*/ 289 w 402"/>
                <a:gd name="T9" fmla="*/ 70 h 162"/>
                <a:gd name="T10" fmla="*/ 230 w 402"/>
                <a:gd name="T11" fmla="*/ 55 h 162"/>
                <a:gd name="T12" fmla="*/ 191 w 402"/>
                <a:gd name="T13" fmla="*/ 74 h 162"/>
                <a:gd name="T14" fmla="*/ 189 w 402"/>
                <a:gd name="T15" fmla="*/ 70 h 162"/>
                <a:gd name="T16" fmla="*/ 177 w 402"/>
                <a:gd name="T17" fmla="*/ 70 h 162"/>
                <a:gd name="T18" fmla="*/ 173 w 402"/>
                <a:gd name="T19" fmla="*/ 67 h 162"/>
                <a:gd name="T20" fmla="*/ 74 w 402"/>
                <a:gd name="T21" fmla="*/ 34 h 162"/>
                <a:gd name="T22" fmla="*/ 63 w 402"/>
                <a:gd name="T23" fmla="*/ 15 h 162"/>
                <a:gd name="T24" fmla="*/ 73 w 402"/>
                <a:gd name="T25" fmla="*/ 15 h 162"/>
                <a:gd name="T26" fmla="*/ 40 w 402"/>
                <a:gd name="T27" fmla="*/ 8 h 162"/>
                <a:gd name="T28" fmla="*/ 25 w 402"/>
                <a:gd name="T29" fmla="*/ 21 h 162"/>
                <a:gd name="T30" fmla="*/ 43 w 402"/>
                <a:gd name="T31" fmla="*/ 96 h 162"/>
                <a:gd name="T32" fmla="*/ 127 w 402"/>
                <a:gd name="T33" fmla="*/ 109 h 162"/>
                <a:gd name="T34" fmla="*/ 182 w 402"/>
                <a:gd name="T35" fmla="*/ 92 h 162"/>
                <a:gd name="T36" fmla="*/ 186 w 402"/>
                <a:gd name="T37" fmla="*/ 90 h 162"/>
                <a:gd name="T38" fmla="*/ 194 w 402"/>
                <a:gd name="T39" fmla="*/ 104 h 162"/>
                <a:gd name="T40" fmla="*/ 282 w 402"/>
                <a:gd name="T41" fmla="*/ 142 h 162"/>
                <a:gd name="T42" fmla="*/ 389 w 402"/>
                <a:gd name="T43" fmla="*/ 146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02" h="162">
                  <a:moveTo>
                    <a:pt x="389" y="146"/>
                  </a:moveTo>
                  <a:cubicBezTo>
                    <a:pt x="394" y="145"/>
                    <a:pt x="397" y="143"/>
                    <a:pt x="398" y="138"/>
                  </a:cubicBezTo>
                  <a:cubicBezTo>
                    <a:pt x="402" y="113"/>
                    <a:pt x="359" y="75"/>
                    <a:pt x="342" y="75"/>
                  </a:cubicBezTo>
                  <a:cubicBezTo>
                    <a:pt x="337" y="75"/>
                    <a:pt x="326" y="73"/>
                    <a:pt x="314" y="70"/>
                  </a:cubicBezTo>
                  <a:cubicBezTo>
                    <a:pt x="289" y="70"/>
                    <a:pt x="289" y="70"/>
                    <a:pt x="289" y="70"/>
                  </a:cubicBezTo>
                  <a:cubicBezTo>
                    <a:pt x="260" y="63"/>
                    <a:pt x="230" y="55"/>
                    <a:pt x="230" y="55"/>
                  </a:cubicBezTo>
                  <a:cubicBezTo>
                    <a:pt x="217" y="61"/>
                    <a:pt x="200" y="66"/>
                    <a:pt x="191" y="74"/>
                  </a:cubicBezTo>
                  <a:cubicBezTo>
                    <a:pt x="191" y="73"/>
                    <a:pt x="190" y="72"/>
                    <a:pt x="189" y="70"/>
                  </a:cubicBezTo>
                  <a:cubicBezTo>
                    <a:pt x="177" y="70"/>
                    <a:pt x="177" y="70"/>
                    <a:pt x="177" y="70"/>
                  </a:cubicBezTo>
                  <a:cubicBezTo>
                    <a:pt x="176" y="69"/>
                    <a:pt x="175" y="68"/>
                    <a:pt x="173" y="67"/>
                  </a:cubicBezTo>
                  <a:cubicBezTo>
                    <a:pt x="134" y="42"/>
                    <a:pt x="89" y="67"/>
                    <a:pt x="74" y="34"/>
                  </a:cubicBezTo>
                  <a:cubicBezTo>
                    <a:pt x="71" y="26"/>
                    <a:pt x="67" y="20"/>
                    <a:pt x="6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63" y="1"/>
                    <a:pt x="51" y="0"/>
                    <a:pt x="40" y="8"/>
                  </a:cubicBezTo>
                  <a:cubicBezTo>
                    <a:pt x="35" y="10"/>
                    <a:pt x="30" y="15"/>
                    <a:pt x="25" y="21"/>
                  </a:cubicBezTo>
                  <a:cubicBezTo>
                    <a:pt x="0" y="59"/>
                    <a:pt x="32" y="88"/>
                    <a:pt x="43" y="96"/>
                  </a:cubicBezTo>
                  <a:cubicBezTo>
                    <a:pt x="53" y="104"/>
                    <a:pt x="92" y="113"/>
                    <a:pt x="127" y="109"/>
                  </a:cubicBezTo>
                  <a:cubicBezTo>
                    <a:pt x="148" y="106"/>
                    <a:pt x="172" y="101"/>
                    <a:pt x="182" y="92"/>
                  </a:cubicBezTo>
                  <a:cubicBezTo>
                    <a:pt x="183" y="92"/>
                    <a:pt x="184" y="91"/>
                    <a:pt x="186" y="90"/>
                  </a:cubicBezTo>
                  <a:cubicBezTo>
                    <a:pt x="187" y="94"/>
                    <a:pt x="189" y="99"/>
                    <a:pt x="194" y="104"/>
                  </a:cubicBezTo>
                  <a:cubicBezTo>
                    <a:pt x="222" y="134"/>
                    <a:pt x="240" y="146"/>
                    <a:pt x="282" y="142"/>
                  </a:cubicBezTo>
                  <a:cubicBezTo>
                    <a:pt x="321" y="138"/>
                    <a:pt x="377" y="162"/>
                    <a:pt x="389" y="146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2" name="Freeform 26"/>
            <p:cNvSpPr>
              <a:spLocks/>
            </p:cNvSpPr>
            <p:nvPr/>
          </p:nvSpPr>
          <p:spPr bwMode="auto">
            <a:xfrm>
              <a:off x="7316788" y="4456113"/>
              <a:ext cx="38100" cy="44450"/>
            </a:xfrm>
            <a:custGeom>
              <a:avLst/>
              <a:gdLst>
                <a:gd name="T0" fmla="*/ 7 w 67"/>
                <a:gd name="T1" fmla="*/ 33 h 79"/>
                <a:gd name="T2" fmla="*/ 55 w 67"/>
                <a:gd name="T3" fmla="*/ 62 h 79"/>
                <a:gd name="T4" fmla="*/ 67 w 67"/>
                <a:gd name="T5" fmla="*/ 49 h 79"/>
                <a:gd name="T6" fmla="*/ 62 w 67"/>
                <a:gd name="T7" fmla="*/ 49 h 79"/>
                <a:gd name="T8" fmla="*/ 63 w 67"/>
                <a:gd name="T9" fmla="*/ 45 h 79"/>
                <a:gd name="T10" fmla="*/ 7 w 67"/>
                <a:gd name="T11" fmla="*/ 3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7" h="79">
                  <a:moveTo>
                    <a:pt x="7" y="33"/>
                  </a:moveTo>
                  <a:cubicBezTo>
                    <a:pt x="0" y="63"/>
                    <a:pt x="38" y="79"/>
                    <a:pt x="55" y="62"/>
                  </a:cubicBezTo>
                  <a:cubicBezTo>
                    <a:pt x="60" y="60"/>
                    <a:pt x="65" y="56"/>
                    <a:pt x="67" y="49"/>
                  </a:cubicBezTo>
                  <a:cubicBezTo>
                    <a:pt x="62" y="49"/>
                    <a:pt x="62" y="49"/>
                    <a:pt x="62" y="49"/>
                  </a:cubicBezTo>
                  <a:cubicBezTo>
                    <a:pt x="62" y="47"/>
                    <a:pt x="63" y="47"/>
                    <a:pt x="63" y="45"/>
                  </a:cubicBezTo>
                  <a:cubicBezTo>
                    <a:pt x="66" y="4"/>
                    <a:pt x="14" y="0"/>
                    <a:pt x="7" y="33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3" name="Freeform 27"/>
            <p:cNvSpPr>
              <a:spLocks/>
            </p:cNvSpPr>
            <p:nvPr/>
          </p:nvSpPr>
          <p:spPr bwMode="auto">
            <a:xfrm>
              <a:off x="7302500" y="4225925"/>
              <a:ext cx="125412" cy="134938"/>
            </a:xfrm>
            <a:custGeom>
              <a:avLst/>
              <a:gdLst>
                <a:gd name="T0" fmla="*/ 28 w 221"/>
                <a:gd name="T1" fmla="*/ 162 h 237"/>
                <a:gd name="T2" fmla="*/ 98 w 221"/>
                <a:gd name="T3" fmla="*/ 123 h 237"/>
                <a:gd name="T4" fmla="*/ 100 w 221"/>
                <a:gd name="T5" fmla="*/ 123 h 237"/>
                <a:gd name="T6" fmla="*/ 107 w 221"/>
                <a:gd name="T7" fmla="*/ 117 h 237"/>
                <a:gd name="T8" fmla="*/ 123 w 221"/>
                <a:gd name="T9" fmla="*/ 121 h 237"/>
                <a:gd name="T10" fmla="*/ 144 w 221"/>
                <a:gd name="T11" fmla="*/ 200 h 237"/>
                <a:gd name="T12" fmla="*/ 215 w 221"/>
                <a:gd name="T13" fmla="*/ 233 h 237"/>
                <a:gd name="T14" fmla="*/ 214 w 221"/>
                <a:gd name="T15" fmla="*/ 229 h 237"/>
                <a:gd name="T16" fmla="*/ 221 w 221"/>
                <a:gd name="T17" fmla="*/ 229 h 237"/>
                <a:gd name="T18" fmla="*/ 215 w 221"/>
                <a:gd name="T19" fmla="*/ 178 h 237"/>
                <a:gd name="T20" fmla="*/ 208 w 221"/>
                <a:gd name="T21" fmla="*/ 178 h 237"/>
                <a:gd name="T22" fmla="*/ 187 w 221"/>
                <a:gd name="T23" fmla="*/ 123 h 237"/>
                <a:gd name="T24" fmla="*/ 196 w 221"/>
                <a:gd name="T25" fmla="*/ 123 h 237"/>
                <a:gd name="T26" fmla="*/ 179 w 221"/>
                <a:gd name="T27" fmla="*/ 104 h 237"/>
                <a:gd name="T28" fmla="*/ 137 w 221"/>
                <a:gd name="T29" fmla="*/ 62 h 237"/>
                <a:gd name="T30" fmla="*/ 155 w 221"/>
                <a:gd name="T31" fmla="*/ 62 h 237"/>
                <a:gd name="T32" fmla="*/ 209 w 221"/>
                <a:gd name="T33" fmla="*/ 53 h 237"/>
                <a:gd name="T34" fmla="*/ 221 w 221"/>
                <a:gd name="T35" fmla="*/ 41 h 237"/>
                <a:gd name="T36" fmla="*/ 216 w 221"/>
                <a:gd name="T37" fmla="*/ 41 h 237"/>
                <a:gd name="T38" fmla="*/ 215 w 221"/>
                <a:gd name="T39" fmla="*/ 25 h 237"/>
                <a:gd name="T40" fmla="*/ 116 w 221"/>
                <a:gd name="T41" fmla="*/ 17 h 237"/>
                <a:gd name="T42" fmla="*/ 63 w 221"/>
                <a:gd name="T43" fmla="*/ 0 h 237"/>
                <a:gd name="T44" fmla="*/ 39 w 221"/>
                <a:gd name="T45" fmla="*/ 71 h 237"/>
                <a:gd name="T46" fmla="*/ 28 w 221"/>
                <a:gd name="T47" fmla="*/ 162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1" h="237">
                  <a:moveTo>
                    <a:pt x="28" y="162"/>
                  </a:moveTo>
                  <a:cubicBezTo>
                    <a:pt x="47" y="176"/>
                    <a:pt x="77" y="140"/>
                    <a:pt x="98" y="123"/>
                  </a:cubicBezTo>
                  <a:cubicBezTo>
                    <a:pt x="100" y="123"/>
                    <a:pt x="100" y="123"/>
                    <a:pt x="100" y="123"/>
                  </a:cubicBezTo>
                  <a:cubicBezTo>
                    <a:pt x="102" y="121"/>
                    <a:pt x="105" y="119"/>
                    <a:pt x="107" y="117"/>
                  </a:cubicBezTo>
                  <a:cubicBezTo>
                    <a:pt x="114" y="114"/>
                    <a:pt x="120" y="114"/>
                    <a:pt x="123" y="121"/>
                  </a:cubicBezTo>
                  <a:cubicBezTo>
                    <a:pt x="137" y="150"/>
                    <a:pt x="120" y="162"/>
                    <a:pt x="144" y="200"/>
                  </a:cubicBezTo>
                  <a:cubicBezTo>
                    <a:pt x="169" y="237"/>
                    <a:pt x="215" y="233"/>
                    <a:pt x="215" y="233"/>
                  </a:cubicBezTo>
                  <a:cubicBezTo>
                    <a:pt x="215" y="233"/>
                    <a:pt x="215" y="231"/>
                    <a:pt x="214" y="229"/>
                  </a:cubicBezTo>
                  <a:cubicBezTo>
                    <a:pt x="219" y="229"/>
                    <a:pt x="221" y="229"/>
                    <a:pt x="221" y="229"/>
                  </a:cubicBezTo>
                  <a:cubicBezTo>
                    <a:pt x="221" y="229"/>
                    <a:pt x="220" y="205"/>
                    <a:pt x="215" y="178"/>
                  </a:cubicBezTo>
                  <a:cubicBezTo>
                    <a:pt x="208" y="178"/>
                    <a:pt x="208" y="178"/>
                    <a:pt x="208" y="178"/>
                  </a:cubicBezTo>
                  <a:cubicBezTo>
                    <a:pt x="204" y="159"/>
                    <a:pt x="197" y="138"/>
                    <a:pt x="187" y="123"/>
                  </a:cubicBezTo>
                  <a:cubicBezTo>
                    <a:pt x="196" y="123"/>
                    <a:pt x="196" y="123"/>
                    <a:pt x="196" y="123"/>
                  </a:cubicBezTo>
                  <a:cubicBezTo>
                    <a:pt x="191" y="115"/>
                    <a:pt x="186" y="108"/>
                    <a:pt x="179" y="104"/>
                  </a:cubicBezTo>
                  <a:cubicBezTo>
                    <a:pt x="154" y="88"/>
                    <a:pt x="135" y="70"/>
                    <a:pt x="137" y="62"/>
                  </a:cubicBezTo>
                  <a:cubicBezTo>
                    <a:pt x="141" y="61"/>
                    <a:pt x="146" y="61"/>
                    <a:pt x="155" y="62"/>
                  </a:cubicBezTo>
                  <a:cubicBezTo>
                    <a:pt x="181" y="67"/>
                    <a:pt x="200" y="62"/>
                    <a:pt x="209" y="53"/>
                  </a:cubicBezTo>
                  <a:cubicBezTo>
                    <a:pt x="215" y="50"/>
                    <a:pt x="219" y="46"/>
                    <a:pt x="221" y="41"/>
                  </a:cubicBezTo>
                  <a:cubicBezTo>
                    <a:pt x="216" y="41"/>
                    <a:pt x="216" y="41"/>
                    <a:pt x="216" y="41"/>
                  </a:cubicBezTo>
                  <a:cubicBezTo>
                    <a:pt x="217" y="36"/>
                    <a:pt x="217" y="31"/>
                    <a:pt x="215" y="25"/>
                  </a:cubicBezTo>
                  <a:cubicBezTo>
                    <a:pt x="204" y="0"/>
                    <a:pt x="137" y="13"/>
                    <a:pt x="116" y="17"/>
                  </a:cubicBezTo>
                  <a:cubicBezTo>
                    <a:pt x="95" y="21"/>
                    <a:pt x="63" y="0"/>
                    <a:pt x="63" y="0"/>
                  </a:cubicBezTo>
                  <a:cubicBezTo>
                    <a:pt x="42" y="8"/>
                    <a:pt x="46" y="29"/>
                    <a:pt x="39" y="71"/>
                  </a:cubicBezTo>
                  <a:cubicBezTo>
                    <a:pt x="32" y="112"/>
                    <a:pt x="0" y="141"/>
                    <a:pt x="28" y="162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4" name="Freeform 28"/>
            <p:cNvSpPr>
              <a:spLocks/>
            </p:cNvSpPr>
            <p:nvPr/>
          </p:nvSpPr>
          <p:spPr bwMode="auto">
            <a:xfrm>
              <a:off x="7502525" y="4137025"/>
              <a:ext cx="58737" cy="96838"/>
            </a:xfrm>
            <a:custGeom>
              <a:avLst/>
              <a:gdLst>
                <a:gd name="T0" fmla="*/ 91 w 105"/>
                <a:gd name="T1" fmla="*/ 17 h 170"/>
                <a:gd name="T2" fmla="*/ 42 w 105"/>
                <a:gd name="T3" fmla="*/ 166 h 170"/>
                <a:gd name="T4" fmla="*/ 75 w 105"/>
                <a:gd name="T5" fmla="*/ 144 h 170"/>
                <a:gd name="T6" fmla="*/ 79 w 105"/>
                <a:gd name="T7" fmla="*/ 144 h 170"/>
                <a:gd name="T8" fmla="*/ 105 w 105"/>
                <a:gd name="T9" fmla="*/ 62 h 170"/>
                <a:gd name="T10" fmla="*/ 99 w 105"/>
                <a:gd name="T11" fmla="*/ 62 h 170"/>
                <a:gd name="T12" fmla="*/ 91 w 105"/>
                <a:gd name="T13" fmla="*/ 17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170">
                  <a:moveTo>
                    <a:pt x="91" y="17"/>
                  </a:moveTo>
                  <a:cubicBezTo>
                    <a:pt x="59" y="0"/>
                    <a:pt x="0" y="154"/>
                    <a:pt x="42" y="166"/>
                  </a:cubicBezTo>
                  <a:cubicBezTo>
                    <a:pt x="54" y="170"/>
                    <a:pt x="65" y="160"/>
                    <a:pt x="75" y="144"/>
                  </a:cubicBezTo>
                  <a:cubicBezTo>
                    <a:pt x="79" y="144"/>
                    <a:pt x="79" y="144"/>
                    <a:pt x="79" y="144"/>
                  </a:cubicBezTo>
                  <a:cubicBezTo>
                    <a:pt x="92" y="123"/>
                    <a:pt x="102" y="90"/>
                    <a:pt x="105" y="62"/>
                  </a:cubicBezTo>
                  <a:cubicBezTo>
                    <a:pt x="99" y="62"/>
                    <a:pt x="99" y="62"/>
                    <a:pt x="99" y="62"/>
                  </a:cubicBezTo>
                  <a:cubicBezTo>
                    <a:pt x="101" y="39"/>
                    <a:pt x="99" y="21"/>
                    <a:pt x="91" y="17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5" name="Freeform 29"/>
            <p:cNvSpPr>
              <a:spLocks/>
            </p:cNvSpPr>
            <p:nvPr/>
          </p:nvSpPr>
          <p:spPr bwMode="auto">
            <a:xfrm>
              <a:off x="7078663" y="4014788"/>
              <a:ext cx="239712" cy="306388"/>
            </a:xfrm>
            <a:custGeom>
              <a:avLst/>
              <a:gdLst>
                <a:gd name="T0" fmla="*/ 267 w 422"/>
                <a:gd name="T1" fmla="*/ 102 h 538"/>
                <a:gd name="T2" fmla="*/ 183 w 422"/>
                <a:gd name="T3" fmla="*/ 177 h 538"/>
                <a:gd name="T4" fmla="*/ 176 w 422"/>
                <a:gd name="T5" fmla="*/ 182 h 538"/>
                <a:gd name="T6" fmla="*/ 133 w 422"/>
                <a:gd name="T7" fmla="*/ 197 h 538"/>
                <a:gd name="T8" fmla="*/ 116 w 422"/>
                <a:gd name="T9" fmla="*/ 208 h 538"/>
                <a:gd name="T10" fmla="*/ 84 w 422"/>
                <a:gd name="T11" fmla="*/ 264 h 538"/>
                <a:gd name="T12" fmla="*/ 14 w 422"/>
                <a:gd name="T13" fmla="*/ 243 h 538"/>
                <a:gd name="T14" fmla="*/ 35 w 422"/>
                <a:gd name="T15" fmla="*/ 405 h 538"/>
                <a:gd name="T16" fmla="*/ 140 w 422"/>
                <a:gd name="T17" fmla="*/ 513 h 538"/>
                <a:gd name="T18" fmla="*/ 218 w 422"/>
                <a:gd name="T19" fmla="*/ 522 h 538"/>
                <a:gd name="T20" fmla="*/ 320 w 422"/>
                <a:gd name="T21" fmla="*/ 501 h 538"/>
                <a:gd name="T22" fmla="*/ 319 w 422"/>
                <a:gd name="T23" fmla="*/ 495 h 538"/>
                <a:gd name="T24" fmla="*/ 326 w 422"/>
                <a:gd name="T25" fmla="*/ 495 h 538"/>
                <a:gd name="T26" fmla="*/ 327 w 422"/>
                <a:gd name="T27" fmla="*/ 413 h 538"/>
                <a:gd name="T28" fmla="*/ 321 w 422"/>
                <a:gd name="T29" fmla="*/ 413 h 538"/>
                <a:gd name="T30" fmla="*/ 345 w 422"/>
                <a:gd name="T31" fmla="*/ 368 h 538"/>
                <a:gd name="T32" fmla="*/ 354 w 422"/>
                <a:gd name="T33" fmla="*/ 358 h 538"/>
                <a:gd name="T34" fmla="*/ 357 w 422"/>
                <a:gd name="T35" fmla="*/ 358 h 538"/>
                <a:gd name="T36" fmla="*/ 408 w 422"/>
                <a:gd name="T37" fmla="*/ 276 h 538"/>
                <a:gd name="T38" fmla="*/ 402 w 422"/>
                <a:gd name="T39" fmla="*/ 276 h 538"/>
                <a:gd name="T40" fmla="*/ 397 w 422"/>
                <a:gd name="T41" fmla="*/ 256 h 538"/>
                <a:gd name="T42" fmla="*/ 383 w 422"/>
                <a:gd name="T43" fmla="*/ 221 h 538"/>
                <a:gd name="T44" fmla="*/ 392 w 422"/>
                <a:gd name="T45" fmla="*/ 221 h 538"/>
                <a:gd name="T46" fmla="*/ 376 w 422"/>
                <a:gd name="T47" fmla="*/ 139 h 538"/>
                <a:gd name="T48" fmla="*/ 376 w 422"/>
                <a:gd name="T49" fmla="*/ 138 h 538"/>
                <a:gd name="T50" fmla="*/ 375 w 422"/>
                <a:gd name="T51" fmla="*/ 138 h 538"/>
                <a:gd name="T52" fmla="*/ 422 w 422"/>
                <a:gd name="T53" fmla="*/ 89 h 538"/>
                <a:gd name="T54" fmla="*/ 373 w 422"/>
                <a:gd name="T55" fmla="*/ 83 h 538"/>
                <a:gd name="T56" fmla="*/ 383 w 422"/>
                <a:gd name="T57" fmla="*/ 83 h 538"/>
                <a:gd name="T58" fmla="*/ 362 w 422"/>
                <a:gd name="T59" fmla="*/ 6 h 538"/>
                <a:gd name="T60" fmla="*/ 360 w 422"/>
                <a:gd name="T61" fmla="*/ 1 h 538"/>
                <a:gd name="T62" fmla="*/ 350 w 422"/>
                <a:gd name="T63" fmla="*/ 1 h 538"/>
                <a:gd name="T64" fmla="*/ 338 w 422"/>
                <a:gd name="T65" fmla="*/ 1 h 538"/>
                <a:gd name="T66" fmla="*/ 335 w 422"/>
                <a:gd name="T67" fmla="*/ 1 h 538"/>
                <a:gd name="T68" fmla="*/ 331 w 422"/>
                <a:gd name="T69" fmla="*/ 4 h 538"/>
                <a:gd name="T70" fmla="*/ 295 w 422"/>
                <a:gd name="T71" fmla="*/ 48 h 538"/>
                <a:gd name="T72" fmla="*/ 267 w 422"/>
                <a:gd name="T73" fmla="*/ 10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2" h="538">
                  <a:moveTo>
                    <a:pt x="267" y="102"/>
                  </a:moveTo>
                  <a:cubicBezTo>
                    <a:pt x="200" y="102"/>
                    <a:pt x="197" y="164"/>
                    <a:pt x="183" y="177"/>
                  </a:cubicBezTo>
                  <a:cubicBezTo>
                    <a:pt x="180" y="179"/>
                    <a:pt x="178" y="180"/>
                    <a:pt x="176" y="182"/>
                  </a:cubicBezTo>
                  <a:cubicBezTo>
                    <a:pt x="165" y="188"/>
                    <a:pt x="152" y="191"/>
                    <a:pt x="133" y="197"/>
                  </a:cubicBezTo>
                  <a:cubicBezTo>
                    <a:pt x="126" y="199"/>
                    <a:pt x="121" y="203"/>
                    <a:pt x="116" y="208"/>
                  </a:cubicBezTo>
                  <a:cubicBezTo>
                    <a:pt x="97" y="220"/>
                    <a:pt x="90" y="246"/>
                    <a:pt x="84" y="264"/>
                  </a:cubicBezTo>
                  <a:cubicBezTo>
                    <a:pt x="77" y="285"/>
                    <a:pt x="28" y="227"/>
                    <a:pt x="14" y="243"/>
                  </a:cubicBezTo>
                  <a:cubicBezTo>
                    <a:pt x="0" y="260"/>
                    <a:pt x="10" y="339"/>
                    <a:pt x="35" y="405"/>
                  </a:cubicBezTo>
                  <a:cubicBezTo>
                    <a:pt x="59" y="472"/>
                    <a:pt x="123" y="513"/>
                    <a:pt x="140" y="513"/>
                  </a:cubicBezTo>
                  <a:cubicBezTo>
                    <a:pt x="158" y="513"/>
                    <a:pt x="193" y="513"/>
                    <a:pt x="218" y="522"/>
                  </a:cubicBezTo>
                  <a:cubicBezTo>
                    <a:pt x="242" y="530"/>
                    <a:pt x="323" y="538"/>
                    <a:pt x="320" y="501"/>
                  </a:cubicBezTo>
                  <a:cubicBezTo>
                    <a:pt x="320" y="499"/>
                    <a:pt x="319" y="497"/>
                    <a:pt x="319" y="495"/>
                  </a:cubicBezTo>
                  <a:cubicBezTo>
                    <a:pt x="326" y="495"/>
                    <a:pt x="326" y="495"/>
                    <a:pt x="326" y="495"/>
                  </a:cubicBezTo>
                  <a:cubicBezTo>
                    <a:pt x="324" y="472"/>
                    <a:pt x="321" y="442"/>
                    <a:pt x="327" y="413"/>
                  </a:cubicBezTo>
                  <a:cubicBezTo>
                    <a:pt x="321" y="413"/>
                    <a:pt x="321" y="413"/>
                    <a:pt x="321" y="413"/>
                  </a:cubicBezTo>
                  <a:cubicBezTo>
                    <a:pt x="325" y="397"/>
                    <a:pt x="332" y="381"/>
                    <a:pt x="345" y="368"/>
                  </a:cubicBezTo>
                  <a:cubicBezTo>
                    <a:pt x="348" y="364"/>
                    <a:pt x="351" y="361"/>
                    <a:pt x="354" y="358"/>
                  </a:cubicBezTo>
                  <a:cubicBezTo>
                    <a:pt x="357" y="358"/>
                    <a:pt x="357" y="358"/>
                    <a:pt x="357" y="358"/>
                  </a:cubicBezTo>
                  <a:cubicBezTo>
                    <a:pt x="384" y="330"/>
                    <a:pt x="409" y="310"/>
                    <a:pt x="408" y="276"/>
                  </a:cubicBezTo>
                  <a:cubicBezTo>
                    <a:pt x="402" y="276"/>
                    <a:pt x="402" y="276"/>
                    <a:pt x="402" y="276"/>
                  </a:cubicBezTo>
                  <a:cubicBezTo>
                    <a:pt x="401" y="269"/>
                    <a:pt x="400" y="263"/>
                    <a:pt x="397" y="256"/>
                  </a:cubicBezTo>
                  <a:cubicBezTo>
                    <a:pt x="393" y="243"/>
                    <a:pt x="388" y="231"/>
                    <a:pt x="383" y="221"/>
                  </a:cubicBezTo>
                  <a:cubicBezTo>
                    <a:pt x="392" y="221"/>
                    <a:pt x="392" y="221"/>
                    <a:pt x="392" y="221"/>
                  </a:cubicBezTo>
                  <a:cubicBezTo>
                    <a:pt x="374" y="184"/>
                    <a:pt x="356" y="159"/>
                    <a:pt x="376" y="139"/>
                  </a:cubicBezTo>
                  <a:cubicBezTo>
                    <a:pt x="376" y="139"/>
                    <a:pt x="376" y="139"/>
                    <a:pt x="376" y="138"/>
                  </a:cubicBezTo>
                  <a:cubicBezTo>
                    <a:pt x="375" y="138"/>
                    <a:pt x="375" y="138"/>
                    <a:pt x="375" y="138"/>
                  </a:cubicBezTo>
                  <a:cubicBezTo>
                    <a:pt x="398" y="117"/>
                    <a:pt x="422" y="109"/>
                    <a:pt x="422" y="89"/>
                  </a:cubicBezTo>
                  <a:cubicBezTo>
                    <a:pt x="422" y="75"/>
                    <a:pt x="393" y="109"/>
                    <a:pt x="373" y="83"/>
                  </a:cubicBezTo>
                  <a:cubicBezTo>
                    <a:pt x="383" y="83"/>
                    <a:pt x="383" y="83"/>
                    <a:pt x="383" y="83"/>
                  </a:cubicBezTo>
                  <a:cubicBezTo>
                    <a:pt x="373" y="75"/>
                    <a:pt x="364" y="53"/>
                    <a:pt x="362" y="6"/>
                  </a:cubicBezTo>
                  <a:cubicBezTo>
                    <a:pt x="362" y="4"/>
                    <a:pt x="361" y="3"/>
                    <a:pt x="360" y="1"/>
                  </a:cubicBezTo>
                  <a:cubicBezTo>
                    <a:pt x="350" y="1"/>
                    <a:pt x="350" y="1"/>
                    <a:pt x="350" y="1"/>
                  </a:cubicBezTo>
                  <a:cubicBezTo>
                    <a:pt x="347" y="0"/>
                    <a:pt x="343" y="0"/>
                    <a:pt x="338" y="1"/>
                  </a:cubicBezTo>
                  <a:cubicBezTo>
                    <a:pt x="335" y="1"/>
                    <a:pt x="335" y="1"/>
                    <a:pt x="335" y="1"/>
                  </a:cubicBezTo>
                  <a:cubicBezTo>
                    <a:pt x="334" y="2"/>
                    <a:pt x="333" y="3"/>
                    <a:pt x="331" y="4"/>
                  </a:cubicBezTo>
                  <a:cubicBezTo>
                    <a:pt x="315" y="13"/>
                    <a:pt x="297" y="31"/>
                    <a:pt x="295" y="48"/>
                  </a:cubicBezTo>
                  <a:cubicBezTo>
                    <a:pt x="292" y="77"/>
                    <a:pt x="334" y="102"/>
                    <a:pt x="267" y="102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6" name="Freeform 30"/>
            <p:cNvSpPr>
              <a:spLocks/>
            </p:cNvSpPr>
            <p:nvPr/>
          </p:nvSpPr>
          <p:spPr bwMode="auto">
            <a:xfrm>
              <a:off x="7318375" y="3687763"/>
              <a:ext cx="131762" cy="219075"/>
            </a:xfrm>
            <a:custGeom>
              <a:avLst/>
              <a:gdLst>
                <a:gd name="T0" fmla="*/ 21 w 232"/>
                <a:gd name="T1" fmla="*/ 166 h 386"/>
                <a:gd name="T2" fmla="*/ 99 w 232"/>
                <a:gd name="T3" fmla="*/ 274 h 386"/>
                <a:gd name="T4" fmla="*/ 21 w 232"/>
                <a:gd name="T5" fmla="*/ 374 h 386"/>
                <a:gd name="T6" fmla="*/ 40 w 232"/>
                <a:gd name="T7" fmla="*/ 374 h 386"/>
                <a:gd name="T8" fmla="*/ 115 w 232"/>
                <a:gd name="T9" fmla="*/ 303 h 386"/>
                <a:gd name="T10" fmla="*/ 112 w 232"/>
                <a:gd name="T11" fmla="*/ 303 h 386"/>
                <a:gd name="T12" fmla="*/ 130 w 232"/>
                <a:gd name="T13" fmla="*/ 278 h 386"/>
                <a:gd name="T14" fmla="*/ 211 w 232"/>
                <a:gd name="T15" fmla="*/ 245 h 386"/>
                <a:gd name="T16" fmla="*/ 221 w 232"/>
                <a:gd name="T17" fmla="*/ 237 h 386"/>
                <a:gd name="T18" fmla="*/ 232 w 232"/>
                <a:gd name="T19" fmla="*/ 216 h 386"/>
                <a:gd name="T20" fmla="*/ 162 w 232"/>
                <a:gd name="T21" fmla="*/ 195 h 386"/>
                <a:gd name="T22" fmla="*/ 108 w 232"/>
                <a:gd name="T23" fmla="*/ 165 h 386"/>
                <a:gd name="T24" fmla="*/ 102 w 232"/>
                <a:gd name="T25" fmla="*/ 165 h 386"/>
                <a:gd name="T26" fmla="*/ 139 w 232"/>
                <a:gd name="T27" fmla="*/ 111 h 386"/>
                <a:gd name="T28" fmla="*/ 141 w 232"/>
                <a:gd name="T29" fmla="*/ 111 h 386"/>
                <a:gd name="T30" fmla="*/ 169 w 232"/>
                <a:gd name="T31" fmla="*/ 58 h 386"/>
                <a:gd name="T32" fmla="*/ 157 w 232"/>
                <a:gd name="T33" fmla="*/ 28 h 386"/>
                <a:gd name="T34" fmla="*/ 148 w 232"/>
                <a:gd name="T35" fmla="*/ 28 h 386"/>
                <a:gd name="T36" fmla="*/ 106 w 232"/>
                <a:gd name="T37" fmla="*/ 0 h 386"/>
                <a:gd name="T38" fmla="*/ 74 w 232"/>
                <a:gd name="T39" fmla="*/ 75 h 386"/>
                <a:gd name="T40" fmla="*/ 21 w 232"/>
                <a:gd name="T41" fmla="*/ 16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2" h="386">
                  <a:moveTo>
                    <a:pt x="21" y="166"/>
                  </a:moveTo>
                  <a:cubicBezTo>
                    <a:pt x="42" y="216"/>
                    <a:pt x="116" y="253"/>
                    <a:pt x="99" y="274"/>
                  </a:cubicBezTo>
                  <a:cubicBezTo>
                    <a:pt x="81" y="295"/>
                    <a:pt x="28" y="337"/>
                    <a:pt x="21" y="374"/>
                  </a:cubicBezTo>
                  <a:cubicBezTo>
                    <a:pt x="19" y="386"/>
                    <a:pt x="27" y="384"/>
                    <a:pt x="40" y="374"/>
                  </a:cubicBezTo>
                  <a:cubicBezTo>
                    <a:pt x="58" y="364"/>
                    <a:pt x="91" y="331"/>
                    <a:pt x="115" y="303"/>
                  </a:cubicBezTo>
                  <a:cubicBezTo>
                    <a:pt x="112" y="303"/>
                    <a:pt x="112" y="303"/>
                    <a:pt x="112" y="303"/>
                  </a:cubicBezTo>
                  <a:cubicBezTo>
                    <a:pt x="119" y="293"/>
                    <a:pt x="126" y="285"/>
                    <a:pt x="130" y="278"/>
                  </a:cubicBezTo>
                  <a:cubicBezTo>
                    <a:pt x="153" y="244"/>
                    <a:pt x="196" y="258"/>
                    <a:pt x="211" y="245"/>
                  </a:cubicBezTo>
                  <a:cubicBezTo>
                    <a:pt x="216" y="243"/>
                    <a:pt x="219" y="241"/>
                    <a:pt x="221" y="237"/>
                  </a:cubicBezTo>
                  <a:cubicBezTo>
                    <a:pt x="232" y="216"/>
                    <a:pt x="232" y="216"/>
                    <a:pt x="232" y="216"/>
                  </a:cubicBezTo>
                  <a:cubicBezTo>
                    <a:pt x="232" y="216"/>
                    <a:pt x="193" y="208"/>
                    <a:pt x="162" y="195"/>
                  </a:cubicBezTo>
                  <a:cubicBezTo>
                    <a:pt x="130" y="183"/>
                    <a:pt x="93" y="226"/>
                    <a:pt x="108" y="165"/>
                  </a:cubicBezTo>
                  <a:cubicBezTo>
                    <a:pt x="102" y="165"/>
                    <a:pt x="102" y="165"/>
                    <a:pt x="102" y="165"/>
                  </a:cubicBezTo>
                  <a:cubicBezTo>
                    <a:pt x="110" y="135"/>
                    <a:pt x="126" y="121"/>
                    <a:pt x="139" y="111"/>
                  </a:cubicBezTo>
                  <a:cubicBezTo>
                    <a:pt x="141" y="111"/>
                    <a:pt x="141" y="111"/>
                    <a:pt x="141" y="111"/>
                  </a:cubicBezTo>
                  <a:cubicBezTo>
                    <a:pt x="159" y="95"/>
                    <a:pt x="175" y="87"/>
                    <a:pt x="169" y="58"/>
                  </a:cubicBezTo>
                  <a:cubicBezTo>
                    <a:pt x="166" y="46"/>
                    <a:pt x="162" y="36"/>
                    <a:pt x="157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33" y="6"/>
                    <a:pt x="113" y="0"/>
                    <a:pt x="106" y="0"/>
                  </a:cubicBezTo>
                  <a:cubicBezTo>
                    <a:pt x="81" y="0"/>
                    <a:pt x="109" y="45"/>
                    <a:pt x="74" y="75"/>
                  </a:cubicBezTo>
                  <a:cubicBezTo>
                    <a:pt x="39" y="104"/>
                    <a:pt x="0" y="116"/>
                    <a:pt x="21" y="166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7" name="Freeform 31"/>
            <p:cNvSpPr>
              <a:spLocks/>
            </p:cNvSpPr>
            <p:nvPr/>
          </p:nvSpPr>
          <p:spPr bwMode="auto">
            <a:xfrm>
              <a:off x="2247900" y="2098675"/>
              <a:ext cx="58737" cy="42863"/>
            </a:xfrm>
            <a:custGeom>
              <a:avLst/>
              <a:gdLst>
                <a:gd name="T0" fmla="*/ 27 w 105"/>
                <a:gd name="T1" fmla="*/ 13 h 75"/>
                <a:gd name="T2" fmla="*/ 11 w 105"/>
                <a:gd name="T3" fmla="*/ 30 h 75"/>
                <a:gd name="T4" fmla="*/ 93 w 105"/>
                <a:gd name="T5" fmla="*/ 42 h 75"/>
                <a:gd name="T6" fmla="*/ 82 w 105"/>
                <a:gd name="T7" fmla="*/ 26 h 75"/>
                <a:gd name="T8" fmla="*/ 93 w 105"/>
                <a:gd name="T9" fmla="*/ 26 h 75"/>
                <a:gd name="T10" fmla="*/ 27 w 105"/>
                <a:gd name="T11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75">
                  <a:moveTo>
                    <a:pt x="27" y="13"/>
                  </a:moveTo>
                  <a:cubicBezTo>
                    <a:pt x="20" y="16"/>
                    <a:pt x="14" y="22"/>
                    <a:pt x="11" y="30"/>
                  </a:cubicBezTo>
                  <a:cubicBezTo>
                    <a:pt x="0" y="60"/>
                    <a:pt x="105" y="75"/>
                    <a:pt x="93" y="42"/>
                  </a:cubicBezTo>
                  <a:cubicBezTo>
                    <a:pt x="91" y="35"/>
                    <a:pt x="87" y="30"/>
                    <a:pt x="82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77" y="7"/>
                    <a:pt x="45" y="0"/>
                    <a:pt x="27" y="13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8" name="Freeform 32"/>
            <p:cNvSpPr>
              <a:spLocks/>
            </p:cNvSpPr>
            <p:nvPr/>
          </p:nvSpPr>
          <p:spPr bwMode="auto">
            <a:xfrm>
              <a:off x="520700" y="2690813"/>
              <a:ext cx="77787" cy="65088"/>
            </a:xfrm>
            <a:custGeom>
              <a:avLst/>
              <a:gdLst>
                <a:gd name="T0" fmla="*/ 109 w 137"/>
                <a:gd name="T1" fmla="*/ 7 h 116"/>
                <a:gd name="T2" fmla="*/ 80 w 137"/>
                <a:gd name="T3" fmla="*/ 63 h 116"/>
                <a:gd name="T4" fmla="*/ 74 w 137"/>
                <a:gd name="T5" fmla="*/ 66 h 116"/>
                <a:gd name="T6" fmla="*/ 31 w 137"/>
                <a:gd name="T7" fmla="*/ 82 h 116"/>
                <a:gd name="T8" fmla="*/ 33 w 137"/>
                <a:gd name="T9" fmla="*/ 82 h 116"/>
                <a:gd name="T10" fmla="*/ 19 w 137"/>
                <a:gd name="T11" fmla="*/ 107 h 116"/>
                <a:gd name="T12" fmla="*/ 117 w 137"/>
                <a:gd name="T13" fmla="*/ 91 h 116"/>
                <a:gd name="T14" fmla="*/ 120 w 137"/>
                <a:gd name="T15" fmla="*/ 82 h 116"/>
                <a:gd name="T16" fmla="*/ 126 w 137"/>
                <a:gd name="T17" fmla="*/ 82 h 116"/>
                <a:gd name="T18" fmla="*/ 127 w 137"/>
                <a:gd name="T19" fmla="*/ 3 h 116"/>
                <a:gd name="T20" fmla="*/ 109 w 137"/>
                <a:gd name="T21" fmla="*/ 7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" h="116">
                  <a:moveTo>
                    <a:pt x="109" y="7"/>
                  </a:moveTo>
                  <a:cubicBezTo>
                    <a:pt x="93" y="11"/>
                    <a:pt x="96" y="47"/>
                    <a:pt x="80" y="63"/>
                  </a:cubicBezTo>
                  <a:cubicBezTo>
                    <a:pt x="78" y="64"/>
                    <a:pt x="77" y="65"/>
                    <a:pt x="74" y="66"/>
                  </a:cubicBezTo>
                  <a:cubicBezTo>
                    <a:pt x="59" y="69"/>
                    <a:pt x="43" y="75"/>
                    <a:pt x="31" y="82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12" y="91"/>
                    <a:pt x="0" y="102"/>
                    <a:pt x="19" y="107"/>
                  </a:cubicBezTo>
                  <a:cubicBezTo>
                    <a:pt x="47" y="116"/>
                    <a:pt x="110" y="103"/>
                    <a:pt x="117" y="91"/>
                  </a:cubicBezTo>
                  <a:cubicBezTo>
                    <a:pt x="118" y="89"/>
                    <a:pt x="119" y="86"/>
                    <a:pt x="120" y="82"/>
                  </a:cubicBezTo>
                  <a:cubicBezTo>
                    <a:pt x="126" y="82"/>
                    <a:pt x="126" y="82"/>
                    <a:pt x="126" y="82"/>
                  </a:cubicBezTo>
                  <a:cubicBezTo>
                    <a:pt x="132" y="62"/>
                    <a:pt x="137" y="7"/>
                    <a:pt x="127" y="3"/>
                  </a:cubicBezTo>
                  <a:cubicBezTo>
                    <a:pt x="118" y="0"/>
                    <a:pt x="113" y="2"/>
                    <a:pt x="109" y="7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9" name="Freeform 33"/>
            <p:cNvSpPr>
              <a:spLocks/>
            </p:cNvSpPr>
            <p:nvPr/>
          </p:nvSpPr>
          <p:spPr bwMode="auto">
            <a:xfrm>
              <a:off x="7023100" y="2065338"/>
              <a:ext cx="1587" cy="1588"/>
            </a:xfrm>
            <a:custGeom>
              <a:avLst/>
              <a:gdLst>
                <a:gd name="T0" fmla="*/ 3 w 5"/>
                <a:gd name="T1" fmla="*/ 0 h 2"/>
                <a:gd name="T2" fmla="*/ 0 w 5"/>
                <a:gd name="T3" fmla="*/ 0 h 2"/>
                <a:gd name="T4" fmla="*/ 3 w 5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1"/>
                    <a:pt x="5" y="2"/>
                    <a:pt x="3" y="0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0" name="Freeform 34"/>
            <p:cNvSpPr>
              <a:spLocks/>
            </p:cNvSpPr>
            <p:nvPr/>
          </p:nvSpPr>
          <p:spPr bwMode="auto">
            <a:xfrm>
              <a:off x="3033713" y="2890838"/>
              <a:ext cx="6350" cy="1588"/>
            </a:xfrm>
            <a:custGeom>
              <a:avLst/>
              <a:gdLst>
                <a:gd name="T0" fmla="*/ 11 w 11"/>
                <a:gd name="T1" fmla="*/ 3 h 3"/>
                <a:gd name="T2" fmla="*/ 0 w 11"/>
                <a:gd name="T3" fmla="*/ 3 h 3"/>
                <a:gd name="T4" fmla="*/ 11 w 11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3">
                  <a:moveTo>
                    <a:pt x="11" y="3"/>
                  </a:moveTo>
                  <a:cubicBezTo>
                    <a:pt x="9" y="0"/>
                    <a:pt x="6" y="0"/>
                    <a:pt x="0" y="3"/>
                  </a:cubicBezTo>
                  <a:lnTo>
                    <a:pt x="11" y="3"/>
                  </a:ln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1" name="Freeform 35"/>
            <p:cNvSpPr>
              <a:spLocks/>
            </p:cNvSpPr>
            <p:nvPr/>
          </p:nvSpPr>
          <p:spPr bwMode="auto">
            <a:xfrm>
              <a:off x="2600325" y="2471738"/>
              <a:ext cx="47625" cy="33338"/>
            </a:xfrm>
            <a:custGeom>
              <a:avLst/>
              <a:gdLst>
                <a:gd name="T0" fmla="*/ 39 w 83"/>
                <a:gd name="T1" fmla="*/ 12 h 59"/>
                <a:gd name="T2" fmla="*/ 27 w 83"/>
                <a:gd name="T3" fmla="*/ 19 h 59"/>
                <a:gd name="T4" fmla="*/ 53 w 83"/>
                <a:gd name="T5" fmla="*/ 49 h 59"/>
                <a:gd name="T6" fmla="*/ 59 w 83"/>
                <a:gd name="T7" fmla="*/ 45 h 59"/>
                <a:gd name="T8" fmla="*/ 60 w 83"/>
                <a:gd name="T9" fmla="*/ 45 h 59"/>
                <a:gd name="T10" fmla="*/ 39 w 83"/>
                <a:gd name="T11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59">
                  <a:moveTo>
                    <a:pt x="39" y="12"/>
                  </a:moveTo>
                  <a:cubicBezTo>
                    <a:pt x="33" y="14"/>
                    <a:pt x="29" y="16"/>
                    <a:pt x="27" y="19"/>
                  </a:cubicBezTo>
                  <a:cubicBezTo>
                    <a:pt x="0" y="32"/>
                    <a:pt x="31" y="59"/>
                    <a:pt x="53" y="49"/>
                  </a:cubicBezTo>
                  <a:cubicBezTo>
                    <a:pt x="55" y="48"/>
                    <a:pt x="57" y="47"/>
                    <a:pt x="59" y="45"/>
                  </a:cubicBezTo>
                  <a:cubicBezTo>
                    <a:pt x="59" y="45"/>
                    <a:pt x="59" y="45"/>
                    <a:pt x="60" y="45"/>
                  </a:cubicBezTo>
                  <a:cubicBezTo>
                    <a:pt x="83" y="34"/>
                    <a:pt x="71" y="0"/>
                    <a:pt x="39" y="12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2" name="Freeform 36"/>
            <p:cNvSpPr>
              <a:spLocks/>
            </p:cNvSpPr>
            <p:nvPr/>
          </p:nvSpPr>
          <p:spPr bwMode="auto">
            <a:xfrm>
              <a:off x="558800" y="2533650"/>
              <a:ext cx="50800" cy="26988"/>
            </a:xfrm>
            <a:custGeom>
              <a:avLst/>
              <a:gdLst>
                <a:gd name="T0" fmla="*/ 41 w 88"/>
                <a:gd name="T1" fmla="*/ 0 h 46"/>
                <a:gd name="T2" fmla="*/ 20 w 88"/>
                <a:gd name="T3" fmla="*/ 8 h 46"/>
                <a:gd name="T4" fmla="*/ 17 w 88"/>
                <a:gd name="T5" fmla="*/ 11 h 46"/>
                <a:gd name="T6" fmla="*/ 14 w 88"/>
                <a:gd name="T7" fmla="*/ 12 h 46"/>
                <a:gd name="T8" fmla="*/ 53 w 88"/>
                <a:gd name="T9" fmla="*/ 46 h 46"/>
                <a:gd name="T10" fmla="*/ 62 w 88"/>
                <a:gd name="T11" fmla="*/ 41 h 46"/>
                <a:gd name="T12" fmla="*/ 80 w 88"/>
                <a:gd name="T13" fmla="*/ 0 h 46"/>
                <a:gd name="T14" fmla="*/ 41 w 88"/>
                <a:gd name="T1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46">
                  <a:moveTo>
                    <a:pt x="41" y="0"/>
                  </a:moveTo>
                  <a:cubicBezTo>
                    <a:pt x="37" y="2"/>
                    <a:pt x="31" y="4"/>
                    <a:pt x="20" y="8"/>
                  </a:cubicBezTo>
                  <a:cubicBezTo>
                    <a:pt x="19" y="9"/>
                    <a:pt x="18" y="10"/>
                    <a:pt x="17" y="11"/>
                  </a:cubicBezTo>
                  <a:cubicBezTo>
                    <a:pt x="16" y="11"/>
                    <a:pt x="15" y="12"/>
                    <a:pt x="14" y="12"/>
                  </a:cubicBezTo>
                  <a:cubicBezTo>
                    <a:pt x="0" y="17"/>
                    <a:pt x="39" y="46"/>
                    <a:pt x="53" y="46"/>
                  </a:cubicBezTo>
                  <a:cubicBezTo>
                    <a:pt x="55" y="46"/>
                    <a:pt x="59" y="43"/>
                    <a:pt x="62" y="41"/>
                  </a:cubicBezTo>
                  <a:cubicBezTo>
                    <a:pt x="73" y="37"/>
                    <a:pt x="88" y="10"/>
                    <a:pt x="80" y="0"/>
                  </a:cubicBezTo>
                  <a:lnTo>
                    <a:pt x="41" y="0"/>
                  </a:ln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3" name="Freeform 37"/>
            <p:cNvSpPr>
              <a:spLocks/>
            </p:cNvSpPr>
            <p:nvPr/>
          </p:nvSpPr>
          <p:spPr bwMode="auto">
            <a:xfrm>
              <a:off x="2047875" y="2070100"/>
              <a:ext cx="161925" cy="76200"/>
            </a:xfrm>
            <a:custGeom>
              <a:avLst/>
              <a:gdLst>
                <a:gd name="T0" fmla="*/ 24 w 287"/>
                <a:gd name="T1" fmla="*/ 20 h 135"/>
                <a:gd name="T2" fmla="*/ 24 w 287"/>
                <a:gd name="T3" fmla="*/ 20 h 135"/>
                <a:gd name="T4" fmla="*/ 18 w 287"/>
                <a:gd name="T5" fmla="*/ 24 h 135"/>
                <a:gd name="T6" fmla="*/ 11 w 287"/>
                <a:gd name="T7" fmla="*/ 104 h 135"/>
                <a:gd name="T8" fmla="*/ 32 w 287"/>
                <a:gd name="T9" fmla="*/ 129 h 135"/>
                <a:gd name="T10" fmla="*/ 68 w 287"/>
                <a:gd name="T11" fmla="*/ 75 h 135"/>
                <a:gd name="T12" fmla="*/ 71 w 287"/>
                <a:gd name="T13" fmla="*/ 75 h 135"/>
                <a:gd name="T14" fmla="*/ 74 w 287"/>
                <a:gd name="T15" fmla="*/ 71 h 135"/>
                <a:gd name="T16" fmla="*/ 74 w 287"/>
                <a:gd name="T17" fmla="*/ 71 h 135"/>
                <a:gd name="T18" fmla="*/ 173 w 287"/>
                <a:gd name="T19" fmla="*/ 82 h 135"/>
                <a:gd name="T20" fmla="*/ 217 w 287"/>
                <a:gd name="T21" fmla="*/ 102 h 135"/>
                <a:gd name="T22" fmla="*/ 265 w 287"/>
                <a:gd name="T23" fmla="*/ 75 h 135"/>
                <a:gd name="T24" fmla="*/ 268 w 287"/>
                <a:gd name="T25" fmla="*/ 75 h 135"/>
                <a:gd name="T26" fmla="*/ 285 w 287"/>
                <a:gd name="T27" fmla="*/ 45 h 135"/>
                <a:gd name="T28" fmla="*/ 224 w 287"/>
                <a:gd name="T29" fmla="*/ 9 h 135"/>
                <a:gd name="T30" fmla="*/ 24 w 287"/>
                <a:gd name="T31" fmla="*/ 2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135">
                  <a:moveTo>
                    <a:pt x="24" y="20"/>
                  </a:moveTo>
                  <a:cubicBezTo>
                    <a:pt x="24" y="20"/>
                    <a:pt x="24" y="20"/>
                    <a:pt x="24" y="20"/>
                  </a:cubicBezTo>
                  <a:cubicBezTo>
                    <a:pt x="21" y="21"/>
                    <a:pt x="19" y="23"/>
                    <a:pt x="18" y="24"/>
                  </a:cubicBezTo>
                  <a:cubicBezTo>
                    <a:pt x="0" y="42"/>
                    <a:pt x="18" y="99"/>
                    <a:pt x="11" y="104"/>
                  </a:cubicBezTo>
                  <a:cubicBezTo>
                    <a:pt x="4" y="110"/>
                    <a:pt x="13" y="135"/>
                    <a:pt x="32" y="129"/>
                  </a:cubicBezTo>
                  <a:cubicBezTo>
                    <a:pt x="48" y="125"/>
                    <a:pt x="57" y="86"/>
                    <a:pt x="68" y="75"/>
                  </a:cubicBezTo>
                  <a:cubicBezTo>
                    <a:pt x="71" y="75"/>
                    <a:pt x="71" y="75"/>
                    <a:pt x="71" y="75"/>
                  </a:cubicBezTo>
                  <a:cubicBezTo>
                    <a:pt x="72" y="73"/>
                    <a:pt x="73" y="72"/>
                    <a:pt x="74" y="71"/>
                  </a:cubicBezTo>
                  <a:cubicBezTo>
                    <a:pt x="74" y="71"/>
                    <a:pt x="74" y="71"/>
                    <a:pt x="74" y="71"/>
                  </a:cubicBezTo>
                  <a:cubicBezTo>
                    <a:pt x="88" y="71"/>
                    <a:pt x="161" y="52"/>
                    <a:pt x="173" y="82"/>
                  </a:cubicBezTo>
                  <a:cubicBezTo>
                    <a:pt x="184" y="113"/>
                    <a:pt x="184" y="99"/>
                    <a:pt x="217" y="102"/>
                  </a:cubicBezTo>
                  <a:cubicBezTo>
                    <a:pt x="237" y="103"/>
                    <a:pt x="254" y="89"/>
                    <a:pt x="265" y="75"/>
                  </a:cubicBezTo>
                  <a:cubicBezTo>
                    <a:pt x="268" y="75"/>
                    <a:pt x="268" y="75"/>
                    <a:pt x="268" y="75"/>
                  </a:cubicBezTo>
                  <a:cubicBezTo>
                    <a:pt x="277" y="64"/>
                    <a:pt x="284" y="51"/>
                    <a:pt x="285" y="45"/>
                  </a:cubicBezTo>
                  <a:cubicBezTo>
                    <a:pt x="287" y="31"/>
                    <a:pt x="268" y="3"/>
                    <a:pt x="224" y="9"/>
                  </a:cubicBezTo>
                  <a:cubicBezTo>
                    <a:pt x="179" y="14"/>
                    <a:pt x="43" y="0"/>
                    <a:pt x="24" y="20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4" name="Freeform 38"/>
            <p:cNvSpPr>
              <a:spLocks/>
            </p:cNvSpPr>
            <p:nvPr/>
          </p:nvSpPr>
          <p:spPr bwMode="auto">
            <a:xfrm>
              <a:off x="2097088" y="2152650"/>
              <a:ext cx="133350" cy="96838"/>
            </a:xfrm>
            <a:custGeom>
              <a:avLst/>
              <a:gdLst>
                <a:gd name="T0" fmla="*/ 211 w 235"/>
                <a:gd name="T1" fmla="*/ 13 h 170"/>
                <a:gd name="T2" fmla="*/ 115 w 235"/>
                <a:gd name="T3" fmla="*/ 16 h 170"/>
                <a:gd name="T4" fmla="*/ 23 w 235"/>
                <a:gd name="T5" fmla="*/ 22 h 170"/>
                <a:gd name="T6" fmla="*/ 22 w 235"/>
                <a:gd name="T7" fmla="*/ 23 h 170"/>
                <a:gd name="T8" fmla="*/ 17 w 235"/>
                <a:gd name="T9" fmla="*/ 26 h 170"/>
                <a:gd name="T10" fmla="*/ 35 w 235"/>
                <a:gd name="T11" fmla="*/ 81 h 170"/>
                <a:gd name="T12" fmla="*/ 110 w 235"/>
                <a:gd name="T13" fmla="*/ 79 h 170"/>
                <a:gd name="T14" fmla="*/ 174 w 235"/>
                <a:gd name="T15" fmla="*/ 145 h 170"/>
                <a:gd name="T16" fmla="*/ 180 w 235"/>
                <a:gd name="T17" fmla="*/ 141 h 170"/>
                <a:gd name="T18" fmla="*/ 180 w 235"/>
                <a:gd name="T19" fmla="*/ 141 h 170"/>
                <a:gd name="T20" fmla="*/ 206 w 235"/>
                <a:gd name="T21" fmla="*/ 122 h 170"/>
                <a:gd name="T22" fmla="*/ 203 w 235"/>
                <a:gd name="T23" fmla="*/ 122 h 170"/>
                <a:gd name="T24" fmla="*/ 226 w 235"/>
                <a:gd name="T25" fmla="*/ 95 h 170"/>
                <a:gd name="T26" fmla="*/ 228 w 235"/>
                <a:gd name="T27" fmla="*/ 67 h 170"/>
                <a:gd name="T28" fmla="*/ 235 w 235"/>
                <a:gd name="T29" fmla="*/ 67 h 170"/>
                <a:gd name="T30" fmla="*/ 211 w 235"/>
                <a:gd name="T31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5" h="170">
                  <a:moveTo>
                    <a:pt x="211" y="13"/>
                  </a:moveTo>
                  <a:cubicBezTo>
                    <a:pt x="192" y="0"/>
                    <a:pt x="131" y="8"/>
                    <a:pt x="115" y="16"/>
                  </a:cubicBezTo>
                  <a:cubicBezTo>
                    <a:pt x="98" y="25"/>
                    <a:pt x="49" y="2"/>
                    <a:pt x="23" y="22"/>
                  </a:cubicBezTo>
                  <a:cubicBezTo>
                    <a:pt x="23" y="22"/>
                    <a:pt x="23" y="23"/>
                    <a:pt x="22" y="23"/>
                  </a:cubicBezTo>
                  <a:cubicBezTo>
                    <a:pt x="20" y="24"/>
                    <a:pt x="18" y="25"/>
                    <a:pt x="17" y="26"/>
                  </a:cubicBezTo>
                  <a:cubicBezTo>
                    <a:pt x="0" y="38"/>
                    <a:pt x="10" y="79"/>
                    <a:pt x="35" y="81"/>
                  </a:cubicBezTo>
                  <a:cubicBezTo>
                    <a:pt x="61" y="84"/>
                    <a:pt x="106" y="62"/>
                    <a:pt x="110" y="79"/>
                  </a:cubicBezTo>
                  <a:cubicBezTo>
                    <a:pt x="115" y="95"/>
                    <a:pt x="132" y="170"/>
                    <a:pt x="174" y="145"/>
                  </a:cubicBezTo>
                  <a:cubicBezTo>
                    <a:pt x="176" y="144"/>
                    <a:pt x="178" y="143"/>
                    <a:pt x="180" y="141"/>
                  </a:cubicBezTo>
                  <a:cubicBezTo>
                    <a:pt x="180" y="141"/>
                    <a:pt x="180" y="141"/>
                    <a:pt x="180" y="141"/>
                  </a:cubicBezTo>
                  <a:cubicBezTo>
                    <a:pt x="192" y="134"/>
                    <a:pt x="200" y="128"/>
                    <a:pt x="206" y="122"/>
                  </a:cubicBezTo>
                  <a:cubicBezTo>
                    <a:pt x="203" y="122"/>
                    <a:pt x="203" y="122"/>
                    <a:pt x="203" y="122"/>
                  </a:cubicBezTo>
                  <a:cubicBezTo>
                    <a:pt x="216" y="108"/>
                    <a:pt x="218" y="97"/>
                    <a:pt x="226" y="95"/>
                  </a:cubicBezTo>
                  <a:cubicBezTo>
                    <a:pt x="231" y="94"/>
                    <a:pt x="231" y="82"/>
                    <a:pt x="228" y="67"/>
                  </a:cubicBezTo>
                  <a:cubicBezTo>
                    <a:pt x="235" y="67"/>
                    <a:pt x="235" y="67"/>
                    <a:pt x="235" y="67"/>
                  </a:cubicBezTo>
                  <a:cubicBezTo>
                    <a:pt x="232" y="47"/>
                    <a:pt x="222" y="22"/>
                    <a:pt x="211" y="13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5" name="Freeform 39"/>
            <p:cNvSpPr>
              <a:spLocks/>
            </p:cNvSpPr>
            <p:nvPr/>
          </p:nvSpPr>
          <p:spPr bwMode="auto">
            <a:xfrm>
              <a:off x="636588" y="2344738"/>
              <a:ext cx="6350" cy="1588"/>
            </a:xfrm>
            <a:custGeom>
              <a:avLst/>
              <a:gdLst>
                <a:gd name="T0" fmla="*/ 0 w 10"/>
                <a:gd name="T1" fmla="*/ 3 h 3"/>
                <a:gd name="T2" fmla="*/ 10 w 10"/>
                <a:gd name="T3" fmla="*/ 3 h 3"/>
                <a:gd name="T4" fmla="*/ 7 w 10"/>
                <a:gd name="T5" fmla="*/ 0 h 3"/>
                <a:gd name="T6" fmla="*/ 0 w 10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3">
                  <a:moveTo>
                    <a:pt x="0" y="3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0" y="3"/>
                  </a:ln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6" name="Freeform 40"/>
            <p:cNvSpPr>
              <a:spLocks/>
            </p:cNvSpPr>
            <p:nvPr/>
          </p:nvSpPr>
          <p:spPr bwMode="auto">
            <a:xfrm>
              <a:off x="2535238" y="2449513"/>
              <a:ext cx="44450" cy="33338"/>
            </a:xfrm>
            <a:custGeom>
              <a:avLst/>
              <a:gdLst>
                <a:gd name="T0" fmla="*/ 23 w 77"/>
                <a:gd name="T1" fmla="*/ 19 h 59"/>
                <a:gd name="T2" fmla="*/ 10 w 77"/>
                <a:gd name="T3" fmla="*/ 30 h 59"/>
                <a:gd name="T4" fmla="*/ 60 w 77"/>
                <a:gd name="T5" fmla="*/ 45 h 59"/>
                <a:gd name="T6" fmla="*/ 68 w 77"/>
                <a:gd name="T7" fmla="*/ 39 h 59"/>
                <a:gd name="T8" fmla="*/ 23 w 77"/>
                <a:gd name="T9" fmla="*/ 1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59">
                  <a:moveTo>
                    <a:pt x="23" y="19"/>
                  </a:moveTo>
                  <a:cubicBezTo>
                    <a:pt x="18" y="22"/>
                    <a:pt x="14" y="25"/>
                    <a:pt x="10" y="30"/>
                  </a:cubicBezTo>
                  <a:cubicBezTo>
                    <a:pt x="0" y="42"/>
                    <a:pt x="49" y="59"/>
                    <a:pt x="60" y="45"/>
                  </a:cubicBezTo>
                  <a:cubicBezTo>
                    <a:pt x="64" y="44"/>
                    <a:pt x="66" y="42"/>
                    <a:pt x="68" y="39"/>
                  </a:cubicBezTo>
                  <a:cubicBezTo>
                    <a:pt x="77" y="24"/>
                    <a:pt x="46" y="0"/>
                    <a:pt x="23" y="19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7" name="Freeform 41"/>
            <p:cNvSpPr>
              <a:spLocks/>
            </p:cNvSpPr>
            <p:nvPr/>
          </p:nvSpPr>
          <p:spPr bwMode="auto">
            <a:xfrm>
              <a:off x="7148513" y="4498975"/>
              <a:ext cx="1012825" cy="812800"/>
            </a:xfrm>
            <a:custGeom>
              <a:avLst/>
              <a:gdLst>
                <a:gd name="T0" fmla="*/ 1757 w 1784"/>
                <a:gd name="T1" fmla="*/ 880 h 1432"/>
                <a:gd name="T2" fmla="*/ 1690 w 1784"/>
                <a:gd name="T3" fmla="*/ 743 h 1432"/>
                <a:gd name="T4" fmla="*/ 1657 w 1784"/>
                <a:gd name="T5" fmla="*/ 661 h 1432"/>
                <a:gd name="T6" fmla="*/ 1636 w 1784"/>
                <a:gd name="T7" fmla="*/ 606 h 1432"/>
                <a:gd name="T8" fmla="*/ 1613 w 1784"/>
                <a:gd name="T9" fmla="*/ 510 h 1432"/>
                <a:gd name="T10" fmla="*/ 1470 w 1784"/>
                <a:gd name="T11" fmla="*/ 441 h 1432"/>
                <a:gd name="T12" fmla="*/ 1424 w 1784"/>
                <a:gd name="T13" fmla="*/ 331 h 1432"/>
                <a:gd name="T14" fmla="*/ 1405 w 1784"/>
                <a:gd name="T15" fmla="*/ 249 h 1432"/>
                <a:gd name="T16" fmla="*/ 1368 w 1784"/>
                <a:gd name="T17" fmla="*/ 194 h 1432"/>
                <a:gd name="T18" fmla="*/ 1301 w 1784"/>
                <a:gd name="T19" fmla="*/ 112 h 1432"/>
                <a:gd name="T20" fmla="*/ 1266 w 1784"/>
                <a:gd name="T21" fmla="*/ 4 h 1432"/>
                <a:gd name="T22" fmla="*/ 1242 w 1784"/>
                <a:gd name="T23" fmla="*/ 175 h 1432"/>
                <a:gd name="T24" fmla="*/ 1162 w 1784"/>
                <a:gd name="T25" fmla="*/ 331 h 1432"/>
                <a:gd name="T26" fmla="*/ 1027 w 1784"/>
                <a:gd name="T27" fmla="*/ 249 h 1432"/>
                <a:gd name="T28" fmla="*/ 1013 w 1784"/>
                <a:gd name="T29" fmla="*/ 194 h 1432"/>
                <a:gd name="T30" fmla="*/ 1034 w 1784"/>
                <a:gd name="T31" fmla="*/ 96 h 1432"/>
                <a:gd name="T32" fmla="*/ 885 w 1784"/>
                <a:gd name="T33" fmla="*/ 57 h 1432"/>
                <a:gd name="T34" fmla="*/ 840 w 1784"/>
                <a:gd name="T35" fmla="*/ 120 h 1432"/>
                <a:gd name="T36" fmla="*/ 787 w 1784"/>
                <a:gd name="T37" fmla="*/ 67 h 1432"/>
                <a:gd name="T38" fmla="*/ 659 w 1784"/>
                <a:gd name="T39" fmla="*/ 194 h 1432"/>
                <a:gd name="T40" fmla="*/ 601 w 1784"/>
                <a:gd name="T41" fmla="*/ 162 h 1432"/>
                <a:gd name="T42" fmla="*/ 404 w 1784"/>
                <a:gd name="T43" fmla="*/ 266 h 1432"/>
                <a:gd name="T44" fmla="*/ 400 w 1784"/>
                <a:gd name="T45" fmla="*/ 441 h 1432"/>
                <a:gd name="T46" fmla="*/ 304 w 1784"/>
                <a:gd name="T47" fmla="*/ 469 h 1432"/>
                <a:gd name="T48" fmla="*/ 214 w 1784"/>
                <a:gd name="T49" fmla="*/ 479 h 1432"/>
                <a:gd name="T50" fmla="*/ 87 w 1784"/>
                <a:gd name="T51" fmla="*/ 774 h 1432"/>
                <a:gd name="T52" fmla="*/ 182 w 1784"/>
                <a:gd name="T53" fmla="*/ 1053 h 1432"/>
                <a:gd name="T54" fmla="*/ 273 w 1784"/>
                <a:gd name="T55" fmla="*/ 1232 h 1432"/>
                <a:gd name="T56" fmla="*/ 312 w 1784"/>
                <a:gd name="T57" fmla="*/ 1210 h 1432"/>
                <a:gd name="T58" fmla="*/ 503 w 1784"/>
                <a:gd name="T59" fmla="*/ 1211 h 1432"/>
                <a:gd name="T60" fmla="*/ 503 w 1784"/>
                <a:gd name="T61" fmla="*/ 1210 h 1432"/>
                <a:gd name="T62" fmla="*/ 548 w 1784"/>
                <a:gd name="T63" fmla="*/ 1073 h 1432"/>
                <a:gd name="T64" fmla="*/ 643 w 1784"/>
                <a:gd name="T65" fmla="*/ 1074 h 1432"/>
                <a:gd name="T66" fmla="*/ 939 w 1784"/>
                <a:gd name="T67" fmla="*/ 1103 h 1432"/>
                <a:gd name="T68" fmla="*/ 1015 w 1784"/>
                <a:gd name="T69" fmla="*/ 1155 h 1432"/>
                <a:gd name="T70" fmla="*/ 1076 w 1784"/>
                <a:gd name="T71" fmla="*/ 1194 h 1432"/>
                <a:gd name="T72" fmla="*/ 1175 w 1784"/>
                <a:gd name="T73" fmla="*/ 1282 h 1432"/>
                <a:gd name="T74" fmla="*/ 1310 w 1784"/>
                <a:gd name="T75" fmla="*/ 1423 h 1432"/>
                <a:gd name="T76" fmla="*/ 1411 w 1784"/>
                <a:gd name="T77" fmla="*/ 1415 h 1432"/>
                <a:gd name="T78" fmla="*/ 1516 w 1784"/>
                <a:gd name="T79" fmla="*/ 1365 h 1432"/>
                <a:gd name="T80" fmla="*/ 1595 w 1784"/>
                <a:gd name="T81" fmla="*/ 1292 h 1432"/>
                <a:gd name="T82" fmla="*/ 1632 w 1784"/>
                <a:gd name="T83" fmla="*/ 1186 h 1432"/>
                <a:gd name="T84" fmla="*/ 1741 w 1784"/>
                <a:gd name="T85" fmla="*/ 1072 h 1432"/>
                <a:gd name="T86" fmla="*/ 1778 w 1784"/>
                <a:gd name="T87" fmla="*/ 1018 h 1432"/>
                <a:gd name="T88" fmla="*/ 1767 w 1784"/>
                <a:gd name="T89" fmla="*/ 935 h 1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84" h="1432">
                  <a:moveTo>
                    <a:pt x="1767" y="935"/>
                  </a:moveTo>
                  <a:cubicBezTo>
                    <a:pt x="1762" y="918"/>
                    <a:pt x="1756" y="900"/>
                    <a:pt x="1749" y="880"/>
                  </a:cubicBezTo>
                  <a:cubicBezTo>
                    <a:pt x="1757" y="880"/>
                    <a:pt x="1757" y="880"/>
                    <a:pt x="1757" y="880"/>
                  </a:cubicBezTo>
                  <a:cubicBezTo>
                    <a:pt x="1748" y="853"/>
                    <a:pt x="1736" y="825"/>
                    <a:pt x="1724" y="798"/>
                  </a:cubicBezTo>
                  <a:cubicBezTo>
                    <a:pt x="1716" y="798"/>
                    <a:pt x="1716" y="798"/>
                    <a:pt x="1716" y="798"/>
                  </a:cubicBezTo>
                  <a:cubicBezTo>
                    <a:pt x="1707" y="778"/>
                    <a:pt x="1699" y="760"/>
                    <a:pt x="1690" y="743"/>
                  </a:cubicBezTo>
                  <a:cubicBezTo>
                    <a:pt x="1699" y="743"/>
                    <a:pt x="1699" y="743"/>
                    <a:pt x="1699" y="743"/>
                  </a:cubicBezTo>
                  <a:cubicBezTo>
                    <a:pt x="1689" y="721"/>
                    <a:pt x="1679" y="702"/>
                    <a:pt x="1671" y="687"/>
                  </a:cubicBezTo>
                  <a:cubicBezTo>
                    <a:pt x="1666" y="678"/>
                    <a:pt x="1661" y="669"/>
                    <a:pt x="1657" y="661"/>
                  </a:cubicBezTo>
                  <a:cubicBezTo>
                    <a:pt x="1649" y="661"/>
                    <a:pt x="1649" y="661"/>
                    <a:pt x="1649" y="661"/>
                  </a:cubicBezTo>
                  <a:cubicBezTo>
                    <a:pt x="1640" y="642"/>
                    <a:pt x="1633" y="623"/>
                    <a:pt x="1628" y="606"/>
                  </a:cubicBezTo>
                  <a:cubicBezTo>
                    <a:pt x="1636" y="606"/>
                    <a:pt x="1636" y="606"/>
                    <a:pt x="1636" y="606"/>
                  </a:cubicBezTo>
                  <a:cubicBezTo>
                    <a:pt x="1626" y="574"/>
                    <a:pt x="1621" y="546"/>
                    <a:pt x="1620" y="524"/>
                  </a:cubicBezTo>
                  <a:cubicBezTo>
                    <a:pt x="1613" y="524"/>
                    <a:pt x="1613" y="524"/>
                    <a:pt x="1613" y="524"/>
                  </a:cubicBezTo>
                  <a:cubicBezTo>
                    <a:pt x="1613" y="519"/>
                    <a:pt x="1613" y="514"/>
                    <a:pt x="1613" y="510"/>
                  </a:cubicBezTo>
                  <a:cubicBezTo>
                    <a:pt x="1616" y="486"/>
                    <a:pt x="1568" y="478"/>
                    <a:pt x="1525" y="469"/>
                  </a:cubicBezTo>
                  <a:cubicBezTo>
                    <a:pt x="1550" y="469"/>
                    <a:pt x="1550" y="469"/>
                    <a:pt x="1550" y="469"/>
                  </a:cubicBezTo>
                  <a:cubicBezTo>
                    <a:pt x="1518" y="462"/>
                    <a:pt x="1484" y="455"/>
                    <a:pt x="1470" y="441"/>
                  </a:cubicBezTo>
                  <a:cubicBezTo>
                    <a:pt x="1458" y="430"/>
                    <a:pt x="1450" y="410"/>
                    <a:pt x="1443" y="386"/>
                  </a:cubicBezTo>
                  <a:cubicBezTo>
                    <a:pt x="1436" y="386"/>
                    <a:pt x="1436" y="386"/>
                    <a:pt x="1436" y="386"/>
                  </a:cubicBezTo>
                  <a:cubicBezTo>
                    <a:pt x="1431" y="369"/>
                    <a:pt x="1427" y="350"/>
                    <a:pt x="1424" y="331"/>
                  </a:cubicBezTo>
                  <a:cubicBezTo>
                    <a:pt x="1431" y="331"/>
                    <a:pt x="1431" y="331"/>
                    <a:pt x="1431" y="331"/>
                  </a:cubicBezTo>
                  <a:cubicBezTo>
                    <a:pt x="1427" y="311"/>
                    <a:pt x="1423" y="291"/>
                    <a:pt x="1417" y="275"/>
                  </a:cubicBezTo>
                  <a:cubicBezTo>
                    <a:pt x="1414" y="266"/>
                    <a:pt x="1409" y="257"/>
                    <a:pt x="1405" y="249"/>
                  </a:cubicBezTo>
                  <a:cubicBezTo>
                    <a:pt x="1397" y="249"/>
                    <a:pt x="1397" y="249"/>
                    <a:pt x="1397" y="249"/>
                  </a:cubicBezTo>
                  <a:cubicBezTo>
                    <a:pt x="1386" y="230"/>
                    <a:pt x="1372" y="212"/>
                    <a:pt x="1358" y="194"/>
                  </a:cubicBezTo>
                  <a:cubicBezTo>
                    <a:pt x="1368" y="194"/>
                    <a:pt x="1368" y="194"/>
                    <a:pt x="1368" y="194"/>
                  </a:cubicBezTo>
                  <a:cubicBezTo>
                    <a:pt x="1356" y="179"/>
                    <a:pt x="1342" y="163"/>
                    <a:pt x="1329" y="146"/>
                  </a:cubicBezTo>
                  <a:cubicBezTo>
                    <a:pt x="1322" y="137"/>
                    <a:pt x="1315" y="125"/>
                    <a:pt x="1310" y="112"/>
                  </a:cubicBezTo>
                  <a:cubicBezTo>
                    <a:pt x="1301" y="112"/>
                    <a:pt x="1301" y="112"/>
                    <a:pt x="1301" y="112"/>
                  </a:cubicBezTo>
                  <a:cubicBezTo>
                    <a:pt x="1293" y="94"/>
                    <a:pt x="1287" y="74"/>
                    <a:pt x="1281" y="57"/>
                  </a:cubicBezTo>
                  <a:cubicBezTo>
                    <a:pt x="1289" y="57"/>
                    <a:pt x="1289" y="57"/>
                    <a:pt x="1289" y="57"/>
                  </a:cubicBezTo>
                  <a:cubicBezTo>
                    <a:pt x="1278" y="25"/>
                    <a:pt x="1271" y="0"/>
                    <a:pt x="1266" y="4"/>
                  </a:cubicBezTo>
                  <a:cubicBezTo>
                    <a:pt x="1265" y="5"/>
                    <a:pt x="1264" y="7"/>
                    <a:pt x="1262" y="10"/>
                  </a:cubicBezTo>
                  <a:cubicBezTo>
                    <a:pt x="1261" y="8"/>
                    <a:pt x="1260" y="8"/>
                    <a:pt x="1259" y="9"/>
                  </a:cubicBezTo>
                  <a:cubicBezTo>
                    <a:pt x="1249" y="17"/>
                    <a:pt x="1217" y="138"/>
                    <a:pt x="1242" y="175"/>
                  </a:cubicBezTo>
                  <a:cubicBezTo>
                    <a:pt x="1266" y="213"/>
                    <a:pt x="1231" y="287"/>
                    <a:pt x="1213" y="337"/>
                  </a:cubicBezTo>
                  <a:cubicBezTo>
                    <a:pt x="1201" y="373"/>
                    <a:pt x="1176" y="354"/>
                    <a:pt x="1151" y="331"/>
                  </a:cubicBezTo>
                  <a:cubicBezTo>
                    <a:pt x="1162" y="331"/>
                    <a:pt x="1162" y="331"/>
                    <a:pt x="1162" y="331"/>
                  </a:cubicBezTo>
                  <a:cubicBezTo>
                    <a:pt x="1150" y="321"/>
                    <a:pt x="1137" y="308"/>
                    <a:pt x="1125" y="300"/>
                  </a:cubicBezTo>
                  <a:cubicBezTo>
                    <a:pt x="1099" y="281"/>
                    <a:pt x="1064" y="267"/>
                    <a:pt x="1038" y="249"/>
                  </a:cubicBezTo>
                  <a:cubicBezTo>
                    <a:pt x="1027" y="249"/>
                    <a:pt x="1027" y="249"/>
                    <a:pt x="1027" y="249"/>
                  </a:cubicBezTo>
                  <a:cubicBezTo>
                    <a:pt x="1021" y="244"/>
                    <a:pt x="1014" y="239"/>
                    <a:pt x="1009" y="233"/>
                  </a:cubicBezTo>
                  <a:cubicBezTo>
                    <a:pt x="1001" y="224"/>
                    <a:pt x="1003" y="210"/>
                    <a:pt x="1008" y="194"/>
                  </a:cubicBezTo>
                  <a:cubicBezTo>
                    <a:pt x="1013" y="194"/>
                    <a:pt x="1013" y="194"/>
                    <a:pt x="1013" y="194"/>
                  </a:cubicBezTo>
                  <a:cubicBezTo>
                    <a:pt x="1020" y="167"/>
                    <a:pt x="1038" y="135"/>
                    <a:pt x="1042" y="112"/>
                  </a:cubicBezTo>
                  <a:cubicBezTo>
                    <a:pt x="1036" y="112"/>
                    <a:pt x="1036" y="112"/>
                    <a:pt x="1036" y="112"/>
                  </a:cubicBezTo>
                  <a:cubicBezTo>
                    <a:pt x="1037" y="106"/>
                    <a:pt x="1036" y="100"/>
                    <a:pt x="1034" y="96"/>
                  </a:cubicBezTo>
                  <a:cubicBezTo>
                    <a:pt x="1016" y="67"/>
                    <a:pt x="921" y="92"/>
                    <a:pt x="911" y="92"/>
                  </a:cubicBezTo>
                  <a:cubicBezTo>
                    <a:pt x="903" y="92"/>
                    <a:pt x="889" y="69"/>
                    <a:pt x="874" y="57"/>
                  </a:cubicBezTo>
                  <a:cubicBezTo>
                    <a:pt x="885" y="57"/>
                    <a:pt x="885" y="57"/>
                    <a:pt x="885" y="57"/>
                  </a:cubicBezTo>
                  <a:cubicBezTo>
                    <a:pt x="878" y="51"/>
                    <a:pt x="871" y="46"/>
                    <a:pt x="864" y="46"/>
                  </a:cubicBezTo>
                  <a:cubicBezTo>
                    <a:pt x="862" y="46"/>
                    <a:pt x="860" y="48"/>
                    <a:pt x="858" y="50"/>
                  </a:cubicBezTo>
                  <a:cubicBezTo>
                    <a:pt x="842" y="51"/>
                    <a:pt x="840" y="97"/>
                    <a:pt x="840" y="120"/>
                  </a:cubicBezTo>
                  <a:cubicBezTo>
                    <a:pt x="838" y="118"/>
                    <a:pt x="836" y="115"/>
                    <a:pt x="834" y="112"/>
                  </a:cubicBezTo>
                  <a:cubicBezTo>
                    <a:pt x="824" y="112"/>
                    <a:pt x="824" y="112"/>
                    <a:pt x="824" y="112"/>
                  </a:cubicBezTo>
                  <a:cubicBezTo>
                    <a:pt x="815" y="100"/>
                    <a:pt x="802" y="84"/>
                    <a:pt x="787" y="67"/>
                  </a:cubicBezTo>
                  <a:cubicBezTo>
                    <a:pt x="756" y="30"/>
                    <a:pt x="791" y="92"/>
                    <a:pt x="759" y="129"/>
                  </a:cubicBezTo>
                  <a:cubicBezTo>
                    <a:pt x="727" y="167"/>
                    <a:pt x="738" y="154"/>
                    <a:pt x="724" y="196"/>
                  </a:cubicBezTo>
                  <a:cubicBezTo>
                    <a:pt x="712" y="232"/>
                    <a:pt x="686" y="224"/>
                    <a:pt x="659" y="194"/>
                  </a:cubicBezTo>
                  <a:cubicBezTo>
                    <a:pt x="670" y="194"/>
                    <a:pt x="670" y="194"/>
                    <a:pt x="670" y="194"/>
                  </a:cubicBezTo>
                  <a:cubicBezTo>
                    <a:pt x="664" y="189"/>
                    <a:pt x="659" y="182"/>
                    <a:pt x="653" y="175"/>
                  </a:cubicBezTo>
                  <a:cubicBezTo>
                    <a:pt x="631" y="146"/>
                    <a:pt x="615" y="152"/>
                    <a:pt x="601" y="162"/>
                  </a:cubicBezTo>
                  <a:cubicBezTo>
                    <a:pt x="592" y="167"/>
                    <a:pt x="584" y="174"/>
                    <a:pt x="576" y="179"/>
                  </a:cubicBezTo>
                  <a:cubicBezTo>
                    <a:pt x="555" y="191"/>
                    <a:pt x="538" y="259"/>
                    <a:pt x="528" y="277"/>
                  </a:cubicBezTo>
                  <a:cubicBezTo>
                    <a:pt x="504" y="283"/>
                    <a:pt x="420" y="247"/>
                    <a:pt x="404" y="266"/>
                  </a:cubicBezTo>
                  <a:cubicBezTo>
                    <a:pt x="403" y="266"/>
                    <a:pt x="403" y="267"/>
                    <a:pt x="403" y="267"/>
                  </a:cubicBezTo>
                  <a:cubicBezTo>
                    <a:pt x="401" y="268"/>
                    <a:pt x="398" y="269"/>
                    <a:pt x="397" y="270"/>
                  </a:cubicBezTo>
                  <a:cubicBezTo>
                    <a:pt x="380" y="291"/>
                    <a:pt x="400" y="425"/>
                    <a:pt x="400" y="441"/>
                  </a:cubicBezTo>
                  <a:cubicBezTo>
                    <a:pt x="400" y="443"/>
                    <a:pt x="399" y="443"/>
                    <a:pt x="398" y="444"/>
                  </a:cubicBezTo>
                  <a:cubicBezTo>
                    <a:pt x="378" y="451"/>
                    <a:pt x="328" y="450"/>
                    <a:pt x="308" y="466"/>
                  </a:cubicBezTo>
                  <a:cubicBezTo>
                    <a:pt x="307" y="467"/>
                    <a:pt x="306" y="468"/>
                    <a:pt x="304" y="469"/>
                  </a:cubicBezTo>
                  <a:cubicBezTo>
                    <a:pt x="305" y="469"/>
                    <a:pt x="305" y="469"/>
                    <a:pt x="305" y="469"/>
                  </a:cubicBezTo>
                  <a:cubicBezTo>
                    <a:pt x="304" y="469"/>
                    <a:pt x="302" y="470"/>
                    <a:pt x="302" y="470"/>
                  </a:cubicBezTo>
                  <a:cubicBezTo>
                    <a:pt x="277" y="491"/>
                    <a:pt x="238" y="479"/>
                    <a:pt x="214" y="479"/>
                  </a:cubicBezTo>
                  <a:cubicBezTo>
                    <a:pt x="189" y="479"/>
                    <a:pt x="104" y="558"/>
                    <a:pt x="76" y="579"/>
                  </a:cubicBezTo>
                  <a:cubicBezTo>
                    <a:pt x="48" y="599"/>
                    <a:pt x="0" y="674"/>
                    <a:pt x="14" y="695"/>
                  </a:cubicBezTo>
                  <a:cubicBezTo>
                    <a:pt x="28" y="716"/>
                    <a:pt x="104" y="766"/>
                    <a:pt x="87" y="774"/>
                  </a:cubicBezTo>
                  <a:cubicBezTo>
                    <a:pt x="69" y="782"/>
                    <a:pt x="59" y="841"/>
                    <a:pt x="101" y="891"/>
                  </a:cubicBezTo>
                  <a:cubicBezTo>
                    <a:pt x="143" y="941"/>
                    <a:pt x="129" y="953"/>
                    <a:pt x="133" y="978"/>
                  </a:cubicBezTo>
                  <a:cubicBezTo>
                    <a:pt x="136" y="1003"/>
                    <a:pt x="154" y="1011"/>
                    <a:pt x="182" y="1053"/>
                  </a:cubicBezTo>
                  <a:cubicBezTo>
                    <a:pt x="210" y="1094"/>
                    <a:pt x="133" y="1128"/>
                    <a:pt x="122" y="1153"/>
                  </a:cubicBezTo>
                  <a:cubicBezTo>
                    <a:pt x="111" y="1178"/>
                    <a:pt x="147" y="1215"/>
                    <a:pt x="168" y="1236"/>
                  </a:cubicBezTo>
                  <a:cubicBezTo>
                    <a:pt x="189" y="1257"/>
                    <a:pt x="242" y="1244"/>
                    <a:pt x="273" y="1232"/>
                  </a:cubicBezTo>
                  <a:cubicBezTo>
                    <a:pt x="286" y="1227"/>
                    <a:pt x="299" y="1218"/>
                    <a:pt x="312" y="1210"/>
                  </a:cubicBezTo>
                  <a:cubicBezTo>
                    <a:pt x="312" y="1210"/>
                    <a:pt x="312" y="1210"/>
                    <a:pt x="312" y="1210"/>
                  </a:cubicBezTo>
                  <a:cubicBezTo>
                    <a:pt x="312" y="1210"/>
                    <a:pt x="312" y="1210"/>
                    <a:pt x="312" y="1210"/>
                  </a:cubicBezTo>
                  <a:cubicBezTo>
                    <a:pt x="331" y="1197"/>
                    <a:pt x="349" y="1184"/>
                    <a:pt x="361" y="1182"/>
                  </a:cubicBezTo>
                  <a:cubicBezTo>
                    <a:pt x="383" y="1178"/>
                    <a:pt x="502" y="1217"/>
                    <a:pt x="502" y="1217"/>
                  </a:cubicBezTo>
                  <a:cubicBezTo>
                    <a:pt x="502" y="1217"/>
                    <a:pt x="503" y="1215"/>
                    <a:pt x="503" y="1211"/>
                  </a:cubicBezTo>
                  <a:cubicBezTo>
                    <a:pt x="506" y="1212"/>
                    <a:pt x="509" y="1213"/>
                    <a:pt x="509" y="1213"/>
                  </a:cubicBezTo>
                  <a:cubicBezTo>
                    <a:pt x="509" y="1213"/>
                    <a:pt x="509" y="1211"/>
                    <a:pt x="509" y="1210"/>
                  </a:cubicBezTo>
                  <a:cubicBezTo>
                    <a:pt x="503" y="1210"/>
                    <a:pt x="503" y="1210"/>
                    <a:pt x="503" y="1210"/>
                  </a:cubicBezTo>
                  <a:cubicBezTo>
                    <a:pt x="505" y="1199"/>
                    <a:pt x="508" y="1178"/>
                    <a:pt x="514" y="1155"/>
                  </a:cubicBezTo>
                  <a:cubicBezTo>
                    <a:pt x="519" y="1155"/>
                    <a:pt x="519" y="1155"/>
                    <a:pt x="519" y="1155"/>
                  </a:cubicBezTo>
                  <a:cubicBezTo>
                    <a:pt x="526" y="1124"/>
                    <a:pt x="535" y="1090"/>
                    <a:pt x="548" y="1073"/>
                  </a:cubicBezTo>
                  <a:cubicBezTo>
                    <a:pt x="548" y="1073"/>
                    <a:pt x="548" y="1073"/>
                    <a:pt x="549" y="1072"/>
                  </a:cubicBezTo>
                  <a:cubicBezTo>
                    <a:pt x="547" y="1072"/>
                    <a:pt x="547" y="1072"/>
                    <a:pt x="547" y="1072"/>
                  </a:cubicBezTo>
                  <a:cubicBezTo>
                    <a:pt x="576" y="1049"/>
                    <a:pt x="643" y="1074"/>
                    <a:pt x="643" y="1074"/>
                  </a:cubicBezTo>
                  <a:cubicBezTo>
                    <a:pt x="643" y="1074"/>
                    <a:pt x="675" y="1049"/>
                    <a:pt x="759" y="1028"/>
                  </a:cubicBezTo>
                  <a:cubicBezTo>
                    <a:pt x="844" y="1007"/>
                    <a:pt x="809" y="1049"/>
                    <a:pt x="840" y="1061"/>
                  </a:cubicBezTo>
                  <a:cubicBezTo>
                    <a:pt x="872" y="1074"/>
                    <a:pt x="914" y="1082"/>
                    <a:pt x="939" y="1103"/>
                  </a:cubicBezTo>
                  <a:cubicBezTo>
                    <a:pt x="963" y="1124"/>
                    <a:pt x="939" y="1173"/>
                    <a:pt x="935" y="1194"/>
                  </a:cubicBezTo>
                  <a:cubicBezTo>
                    <a:pt x="932" y="1215"/>
                    <a:pt x="995" y="1207"/>
                    <a:pt x="999" y="1186"/>
                  </a:cubicBezTo>
                  <a:cubicBezTo>
                    <a:pt x="1000" y="1176"/>
                    <a:pt x="1006" y="1165"/>
                    <a:pt x="1015" y="1155"/>
                  </a:cubicBezTo>
                  <a:cubicBezTo>
                    <a:pt x="1018" y="1155"/>
                    <a:pt x="1018" y="1155"/>
                    <a:pt x="1018" y="1155"/>
                  </a:cubicBezTo>
                  <a:cubicBezTo>
                    <a:pt x="1027" y="1143"/>
                    <a:pt x="1040" y="1131"/>
                    <a:pt x="1058" y="1118"/>
                  </a:cubicBezTo>
                  <a:cubicBezTo>
                    <a:pt x="1088" y="1100"/>
                    <a:pt x="1062" y="1158"/>
                    <a:pt x="1076" y="1194"/>
                  </a:cubicBezTo>
                  <a:cubicBezTo>
                    <a:pt x="1090" y="1232"/>
                    <a:pt x="1111" y="1143"/>
                    <a:pt x="1111" y="1186"/>
                  </a:cubicBezTo>
                  <a:cubicBezTo>
                    <a:pt x="1111" y="1198"/>
                    <a:pt x="1122" y="1211"/>
                    <a:pt x="1125" y="1223"/>
                  </a:cubicBezTo>
                  <a:cubicBezTo>
                    <a:pt x="1129" y="1236"/>
                    <a:pt x="1175" y="1240"/>
                    <a:pt x="1175" y="1282"/>
                  </a:cubicBezTo>
                  <a:cubicBezTo>
                    <a:pt x="1175" y="1323"/>
                    <a:pt x="1175" y="1348"/>
                    <a:pt x="1185" y="1356"/>
                  </a:cubicBezTo>
                  <a:cubicBezTo>
                    <a:pt x="1196" y="1365"/>
                    <a:pt x="1252" y="1356"/>
                    <a:pt x="1277" y="1406"/>
                  </a:cubicBezTo>
                  <a:cubicBezTo>
                    <a:pt x="1290" y="1432"/>
                    <a:pt x="1300" y="1432"/>
                    <a:pt x="1310" y="1423"/>
                  </a:cubicBezTo>
                  <a:cubicBezTo>
                    <a:pt x="1322" y="1419"/>
                    <a:pt x="1331" y="1398"/>
                    <a:pt x="1340" y="1386"/>
                  </a:cubicBezTo>
                  <a:cubicBezTo>
                    <a:pt x="1340" y="1385"/>
                    <a:pt x="1341" y="1385"/>
                    <a:pt x="1342" y="1384"/>
                  </a:cubicBezTo>
                  <a:cubicBezTo>
                    <a:pt x="1361" y="1378"/>
                    <a:pt x="1399" y="1401"/>
                    <a:pt x="1411" y="1415"/>
                  </a:cubicBezTo>
                  <a:cubicBezTo>
                    <a:pt x="1417" y="1422"/>
                    <a:pt x="1427" y="1416"/>
                    <a:pt x="1442" y="1407"/>
                  </a:cubicBezTo>
                  <a:cubicBezTo>
                    <a:pt x="1450" y="1402"/>
                    <a:pt x="1459" y="1396"/>
                    <a:pt x="1469" y="1389"/>
                  </a:cubicBezTo>
                  <a:cubicBezTo>
                    <a:pt x="1483" y="1379"/>
                    <a:pt x="1499" y="1370"/>
                    <a:pt x="1516" y="1365"/>
                  </a:cubicBezTo>
                  <a:cubicBezTo>
                    <a:pt x="1569" y="1348"/>
                    <a:pt x="1562" y="1352"/>
                    <a:pt x="1576" y="1327"/>
                  </a:cubicBezTo>
                  <a:cubicBezTo>
                    <a:pt x="1581" y="1319"/>
                    <a:pt x="1585" y="1307"/>
                    <a:pt x="1589" y="1292"/>
                  </a:cubicBezTo>
                  <a:cubicBezTo>
                    <a:pt x="1595" y="1292"/>
                    <a:pt x="1595" y="1292"/>
                    <a:pt x="1595" y="1292"/>
                  </a:cubicBezTo>
                  <a:cubicBezTo>
                    <a:pt x="1602" y="1268"/>
                    <a:pt x="1611" y="1238"/>
                    <a:pt x="1624" y="1210"/>
                  </a:cubicBezTo>
                  <a:cubicBezTo>
                    <a:pt x="1619" y="1210"/>
                    <a:pt x="1619" y="1210"/>
                    <a:pt x="1619" y="1210"/>
                  </a:cubicBezTo>
                  <a:cubicBezTo>
                    <a:pt x="1623" y="1202"/>
                    <a:pt x="1627" y="1194"/>
                    <a:pt x="1632" y="1186"/>
                  </a:cubicBezTo>
                  <a:cubicBezTo>
                    <a:pt x="1638" y="1176"/>
                    <a:pt x="1647" y="1166"/>
                    <a:pt x="1658" y="1155"/>
                  </a:cubicBezTo>
                  <a:cubicBezTo>
                    <a:pt x="1661" y="1155"/>
                    <a:pt x="1661" y="1155"/>
                    <a:pt x="1661" y="1155"/>
                  </a:cubicBezTo>
                  <a:cubicBezTo>
                    <a:pt x="1684" y="1130"/>
                    <a:pt x="1716" y="1102"/>
                    <a:pt x="1741" y="1072"/>
                  </a:cubicBezTo>
                  <a:cubicBezTo>
                    <a:pt x="1738" y="1072"/>
                    <a:pt x="1738" y="1072"/>
                    <a:pt x="1738" y="1072"/>
                  </a:cubicBezTo>
                  <a:cubicBezTo>
                    <a:pt x="1754" y="1054"/>
                    <a:pt x="1767" y="1036"/>
                    <a:pt x="1773" y="1018"/>
                  </a:cubicBezTo>
                  <a:cubicBezTo>
                    <a:pt x="1778" y="1018"/>
                    <a:pt x="1778" y="1018"/>
                    <a:pt x="1778" y="1018"/>
                  </a:cubicBezTo>
                  <a:cubicBezTo>
                    <a:pt x="1782" y="1008"/>
                    <a:pt x="1784" y="999"/>
                    <a:pt x="1784" y="990"/>
                  </a:cubicBezTo>
                  <a:cubicBezTo>
                    <a:pt x="1784" y="975"/>
                    <a:pt x="1780" y="956"/>
                    <a:pt x="1774" y="935"/>
                  </a:cubicBezTo>
                  <a:lnTo>
                    <a:pt x="1767" y="935"/>
                  </a:ln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8" name="Freeform 42"/>
            <p:cNvSpPr>
              <a:spLocks/>
            </p:cNvSpPr>
            <p:nvPr/>
          </p:nvSpPr>
          <p:spPr bwMode="auto">
            <a:xfrm>
              <a:off x="7794625" y="2949575"/>
              <a:ext cx="166687" cy="100013"/>
            </a:xfrm>
            <a:custGeom>
              <a:avLst/>
              <a:gdLst>
                <a:gd name="T0" fmla="*/ 124 w 293"/>
                <a:gd name="T1" fmla="*/ 6 h 177"/>
                <a:gd name="T2" fmla="*/ 113 w 293"/>
                <a:gd name="T3" fmla="*/ 13 h 177"/>
                <a:gd name="T4" fmla="*/ 82 w 293"/>
                <a:gd name="T5" fmla="*/ 73 h 177"/>
                <a:gd name="T6" fmla="*/ 50 w 293"/>
                <a:gd name="T7" fmla="*/ 93 h 177"/>
                <a:gd name="T8" fmla="*/ 49 w 293"/>
                <a:gd name="T9" fmla="*/ 93 h 177"/>
                <a:gd name="T10" fmla="*/ 34 w 293"/>
                <a:gd name="T11" fmla="*/ 102 h 177"/>
                <a:gd name="T12" fmla="*/ 16 w 293"/>
                <a:gd name="T13" fmla="*/ 143 h 177"/>
                <a:gd name="T14" fmla="*/ 128 w 293"/>
                <a:gd name="T15" fmla="*/ 147 h 177"/>
                <a:gd name="T16" fmla="*/ 223 w 293"/>
                <a:gd name="T17" fmla="*/ 127 h 177"/>
                <a:gd name="T18" fmla="*/ 281 w 293"/>
                <a:gd name="T19" fmla="*/ 112 h 177"/>
                <a:gd name="T20" fmla="*/ 293 w 293"/>
                <a:gd name="T21" fmla="*/ 93 h 177"/>
                <a:gd name="T22" fmla="*/ 287 w 293"/>
                <a:gd name="T23" fmla="*/ 93 h 177"/>
                <a:gd name="T24" fmla="*/ 287 w 293"/>
                <a:gd name="T25" fmla="*/ 89 h 177"/>
                <a:gd name="T26" fmla="*/ 185 w 293"/>
                <a:gd name="T27" fmla="*/ 48 h 177"/>
                <a:gd name="T28" fmla="*/ 168 w 293"/>
                <a:gd name="T29" fmla="*/ 38 h 177"/>
                <a:gd name="T30" fmla="*/ 179 w 293"/>
                <a:gd name="T31" fmla="*/ 38 h 177"/>
                <a:gd name="T32" fmla="*/ 124 w 293"/>
                <a:gd name="T33" fmla="*/ 6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3" h="177">
                  <a:moveTo>
                    <a:pt x="124" y="6"/>
                  </a:moveTo>
                  <a:cubicBezTo>
                    <a:pt x="120" y="7"/>
                    <a:pt x="116" y="10"/>
                    <a:pt x="113" y="13"/>
                  </a:cubicBezTo>
                  <a:cubicBezTo>
                    <a:pt x="91" y="24"/>
                    <a:pt x="82" y="61"/>
                    <a:pt x="82" y="73"/>
                  </a:cubicBezTo>
                  <a:cubicBezTo>
                    <a:pt x="82" y="78"/>
                    <a:pt x="67" y="84"/>
                    <a:pt x="50" y="93"/>
                  </a:cubicBezTo>
                  <a:cubicBezTo>
                    <a:pt x="49" y="93"/>
                    <a:pt x="49" y="93"/>
                    <a:pt x="49" y="93"/>
                  </a:cubicBezTo>
                  <a:cubicBezTo>
                    <a:pt x="44" y="96"/>
                    <a:pt x="39" y="99"/>
                    <a:pt x="34" y="102"/>
                  </a:cubicBezTo>
                  <a:cubicBezTo>
                    <a:pt x="15" y="113"/>
                    <a:pt x="0" y="127"/>
                    <a:pt x="16" y="143"/>
                  </a:cubicBezTo>
                  <a:cubicBezTo>
                    <a:pt x="47" y="177"/>
                    <a:pt x="79" y="152"/>
                    <a:pt x="128" y="147"/>
                  </a:cubicBezTo>
                  <a:cubicBezTo>
                    <a:pt x="177" y="143"/>
                    <a:pt x="223" y="127"/>
                    <a:pt x="223" y="127"/>
                  </a:cubicBezTo>
                  <a:cubicBezTo>
                    <a:pt x="223" y="127"/>
                    <a:pt x="265" y="129"/>
                    <a:pt x="281" y="112"/>
                  </a:cubicBezTo>
                  <a:cubicBezTo>
                    <a:pt x="288" y="108"/>
                    <a:pt x="293" y="102"/>
                    <a:pt x="293" y="93"/>
                  </a:cubicBezTo>
                  <a:cubicBezTo>
                    <a:pt x="287" y="93"/>
                    <a:pt x="287" y="93"/>
                    <a:pt x="287" y="93"/>
                  </a:cubicBezTo>
                  <a:cubicBezTo>
                    <a:pt x="287" y="92"/>
                    <a:pt x="287" y="91"/>
                    <a:pt x="287" y="89"/>
                  </a:cubicBezTo>
                  <a:cubicBezTo>
                    <a:pt x="276" y="48"/>
                    <a:pt x="199" y="43"/>
                    <a:pt x="185" y="48"/>
                  </a:cubicBezTo>
                  <a:cubicBezTo>
                    <a:pt x="180" y="49"/>
                    <a:pt x="174" y="44"/>
                    <a:pt x="168" y="38"/>
                  </a:cubicBezTo>
                  <a:cubicBezTo>
                    <a:pt x="179" y="38"/>
                    <a:pt x="179" y="38"/>
                    <a:pt x="179" y="38"/>
                  </a:cubicBezTo>
                  <a:cubicBezTo>
                    <a:pt x="165" y="26"/>
                    <a:pt x="145" y="0"/>
                    <a:pt x="124" y="6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9" name="Freeform 43"/>
            <p:cNvSpPr>
              <a:spLocks/>
            </p:cNvSpPr>
            <p:nvPr/>
          </p:nvSpPr>
          <p:spPr bwMode="auto">
            <a:xfrm>
              <a:off x="7904163" y="5340350"/>
              <a:ext cx="114300" cy="95250"/>
            </a:xfrm>
            <a:custGeom>
              <a:avLst/>
              <a:gdLst>
                <a:gd name="T0" fmla="*/ 191 w 200"/>
                <a:gd name="T1" fmla="*/ 1 h 165"/>
                <a:gd name="T2" fmla="*/ 190 w 200"/>
                <a:gd name="T3" fmla="*/ 1 h 165"/>
                <a:gd name="T4" fmla="*/ 146 w 200"/>
                <a:gd name="T5" fmla="*/ 21 h 165"/>
                <a:gd name="T6" fmla="*/ 145 w 200"/>
                <a:gd name="T7" fmla="*/ 22 h 165"/>
                <a:gd name="T8" fmla="*/ 101 w 200"/>
                <a:gd name="T9" fmla="*/ 44 h 165"/>
                <a:gd name="T10" fmla="*/ 45 w 200"/>
                <a:gd name="T11" fmla="*/ 23 h 165"/>
                <a:gd name="T12" fmla="*/ 41 w 200"/>
                <a:gd name="T13" fmla="*/ 29 h 165"/>
                <a:gd name="T14" fmla="*/ 38 w 200"/>
                <a:gd name="T15" fmla="*/ 27 h 165"/>
                <a:gd name="T16" fmla="*/ 66 w 200"/>
                <a:gd name="T17" fmla="*/ 119 h 165"/>
                <a:gd name="T18" fmla="*/ 137 w 200"/>
                <a:gd name="T19" fmla="*/ 140 h 165"/>
                <a:gd name="T20" fmla="*/ 172 w 200"/>
                <a:gd name="T21" fmla="*/ 83 h 165"/>
                <a:gd name="T22" fmla="*/ 176 w 200"/>
                <a:gd name="T23" fmla="*/ 83 h 165"/>
                <a:gd name="T24" fmla="*/ 196 w 200"/>
                <a:gd name="T25" fmla="*/ 6 h 165"/>
                <a:gd name="T26" fmla="*/ 191 w 200"/>
                <a:gd name="T27" fmla="*/ 1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0" h="165">
                  <a:moveTo>
                    <a:pt x="191" y="1"/>
                  </a:moveTo>
                  <a:cubicBezTo>
                    <a:pt x="190" y="1"/>
                    <a:pt x="190" y="1"/>
                    <a:pt x="190" y="1"/>
                  </a:cubicBezTo>
                  <a:cubicBezTo>
                    <a:pt x="181" y="0"/>
                    <a:pt x="164" y="10"/>
                    <a:pt x="146" y="21"/>
                  </a:cubicBezTo>
                  <a:cubicBezTo>
                    <a:pt x="146" y="22"/>
                    <a:pt x="145" y="22"/>
                    <a:pt x="145" y="22"/>
                  </a:cubicBezTo>
                  <a:cubicBezTo>
                    <a:pt x="127" y="34"/>
                    <a:pt x="109" y="46"/>
                    <a:pt x="101" y="44"/>
                  </a:cubicBezTo>
                  <a:cubicBezTo>
                    <a:pt x="84" y="40"/>
                    <a:pt x="45" y="23"/>
                    <a:pt x="45" y="23"/>
                  </a:cubicBezTo>
                  <a:cubicBezTo>
                    <a:pt x="43" y="25"/>
                    <a:pt x="42" y="27"/>
                    <a:pt x="41" y="29"/>
                  </a:cubicBezTo>
                  <a:cubicBezTo>
                    <a:pt x="39" y="28"/>
                    <a:pt x="38" y="27"/>
                    <a:pt x="38" y="27"/>
                  </a:cubicBezTo>
                  <a:cubicBezTo>
                    <a:pt x="0" y="73"/>
                    <a:pt x="77" y="73"/>
                    <a:pt x="66" y="119"/>
                  </a:cubicBezTo>
                  <a:cubicBezTo>
                    <a:pt x="56" y="165"/>
                    <a:pt x="119" y="148"/>
                    <a:pt x="137" y="140"/>
                  </a:cubicBezTo>
                  <a:cubicBezTo>
                    <a:pt x="145" y="136"/>
                    <a:pt x="160" y="111"/>
                    <a:pt x="172" y="83"/>
                  </a:cubicBezTo>
                  <a:cubicBezTo>
                    <a:pt x="176" y="83"/>
                    <a:pt x="176" y="83"/>
                    <a:pt x="176" y="83"/>
                  </a:cubicBezTo>
                  <a:cubicBezTo>
                    <a:pt x="189" y="54"/>
                    <a:pt x="200" y="20"/>
                    <a:pt x="196" y="6"/>
                  </a:cubicBezTo>
                  <a:cubicBezTo>
                    <a:pt x="195" y="3"/>
                    <a:pt x="193" y="2"/>
                    <a:pt x="191" y="1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0" name="Freeform 44"/>
            <p:cNvSpPr>
              <a:spLocks/>
            </p:cNvSpPr>
            <p:nvPr/>
          </p:nvSpPr>
          <p:spPr bwMode="auto">
            <a:xfrm>
              <a:off x="7427913" y="3857625"/>
              <a:ext cx="68262" cy="49213"/>
            </a:xfrm>
            <a:custGeom>
              <a:avLst/>
              <a:gdLst>
                <a:gd name="T0" fmla="*/ 87 w 120"/>
                <a:gd name="T1" fmla="*/ 5 h 88"/>
                <a:gd name="T2" fmla="*/ 72 w 120"/>
                <a:gd name="T3" fmla="*/ 5 h 88"/>
                <a:gd name="T4" fmla="*/ 59 w 120"/>
                <a:gd name="T5" fmla="*/ 1 h 88"/>
                <a:gd name="T6" fmla="*/ 63 w 120"/>
                <a:gd name="T7" fmla="*/ 84 h 88"/>
                <a:gd name="T8" fmla="*/ 89 w 120"/>
                <a:gd name="T9" fmla="*/ 75 h 88"/>
                <a:gd name="T10" fmla="*/ 87 w 120"/>
                <a:gd name="T11" fmla="*/ 5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" h="88">
                  <a:moveTo>
                    <a:pt x="87" y="5"/>
                  </a:moveTo>
                  <a:cubicBezTo>
                    <a:pt x="72" y="5"/>
                    <a:pt x="72" y="5"/>
                    <a:pt x="72" y="5"/>
                  </a:cubicBezTo>
                  <a:cubicBezTo>
                    <a:pt x="68" y="3"/>
                    <a:pt x="64" y="2"/>
                    <a:pt x="59" y="1"/>
                  </a:cubicBezTo>
                  <a:cubicBezTo>
                    <a:pt x="45" y="0"/>
                    <a:pt x="0" y="88"/>
                    <a:pt x="63" y="84"/>
                  </a:cubicBezTo>
                  <a:cubicBezTo>
                    <a:pt x="75" y="84"/>
                    <a:pt x="83" y="80"/>
                    <a:pt x="89" y="75"/>
                  </a:cubicBezTo>
                  <a:cubicBezTo>
                    <a:pt x="120" y="62"/>
                    <a:pt x="114" y="22"/>
                    <a:pt x="87" y="5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1" name="Freeform 45"/>
            <p:cNvSpPr>
              <a:spLocks/>
            </p:cNvSpPr>
            <p:nvPr/>
          </p:nvSpPr>
          <p:spPr bwMode="auto">
            <a:xfrm>
              <a:off x="2930525" y="3903663"/>
              <a:ext cx="22225" cy="3175"/>
            </a:xfrm>
            <a:custGeom>
              <a:avLst/>
              <a:gdLst>
                <a:gd name="T0" fmla="*/ 0 w 38"/>
                <a:gd name="T1" fmla="*/ 4 h 4"/>
                <a:gd name="T2" fmla="*/ 38 w 38"/>
                <a:gd name="T3" fmla="*/ 4 h 4"/>
                <a:gd name="T4" fmla="*/ 0 w 38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8" h="4">
                  <a:moveTo>
                    <a:pt x="0" y="4"/>
                  </a:moveTo>
                  <a:cubicBezTo>
                    <a:pt x="38" y="4"/>
                    <a:pt x="38" y="4"/>
                    <a:pt x="38" y="4"/>
                  </a:cubicBezTo>
                  <a:cubicBezTo>
                    <a:pt x="27" y="0"/>
                    <a:pt x="13" y="0"/>
                    <a:pt x="0" y="4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2" name="Freeform 46"/>
            <p:cNvSpPr>
              <a:spLocks/>
            </p:cNvSpPr>
            <p:nvPr/>
          </p:nvSpPr>
          <p:spPr bwMode="auto">
            <a:xfrm>
              <a:off x="7581900" y="4203700"/>
              <a:ext cx="471487" cy="314325"/>
            </a:xfrm>
            <a:custGeom>
              <a:avLst/>
              <a:gdLst>
                <a:gd name="T0" fmla="*/ 640 w 831"/>
                <a:gd name="T1" fmla="*/ 247 h 551"/>
                <a:gd name="T2" fmla="*/ 619 w 831"/>
                <a:gd name="T3" fmla="*/ 217 h 551"/>
                <a:gd name="T4" fmla="*/ 610 w 831"/>
                <a:gd name="T5" fmla="*/ 217 h 551"/>
                <a:gd name="T6" fmla="*/ 549 w 831"/>
                <a:gd name="T7" fmla="*/ 162 h 551"/>
                <a:gd name="T8" fmla="*/ 567 w 831"/>
                <a:gd name="T9" fmla="*/ 162 h 551"/>
                <a:gd name="T10" fmla="*/ 548 w 831"/>
                <a:gd name="T11" fmla="*/ 155 h 551"/>
                <a:gd name="T12" fmla="*/ 425 w 831"/>
                <a:gd name="T13" fmla="*/ 89 h 551"/>
                <a:gd name="T14" fmla="*/ 406 w 831"/>
                <a:gd name="T15" fmla="*/ 80 h 551"/>
                <a:gd name="T16" fmla="*/ 387 w 831"/>
                <a:gd name="T17" fmla="*/ 80 h 551"/>
                <a:gd name="T18" fmla="*/ 232 w 831"/>
                <a:gd name="T19" fmla="*/ 81 h 551"/>
                <a:gd name="T20" fmla="*/ 232 w 831"/>
                <a:gd name="T21" fmla="*/ 82 h 551"/>
                <a:gd name="T22" fmla="*/ 230 w 831"/>
                <a:gd name="T23" fmla="*/ 80 h 551"/>
                <a:gd name="T24" fmla="*/ 218 w 831"/>
                <a:gd name="T25" fmla="*/ 80 h 551"/>
                <a:gd name="T26" fmla="*/ 190 w 831"/>
                <a:gd name="T27" fmla="*/ 64 h 551"/>
                <a:gd name="T28" fmla="*/ 105 w 831"/>
                <a:gd name="T29" fmla="*/ 35 h 551"/>
                <a:gd name="T30" fmla="*/ 101 w 831"/>
                <a:gd name="T31" fmla="*/ 25 h 551"/>
                <a:gd name="T32" fmla="*/ 109 w 831"/>
                <a:gd name="T33" fmla="*/ 25 h 551"/>
                <a:gd name="T34" fmla="*/ 64 w 831"/>
                <a:gd name="T35" fmla="*/ 14 h 551"/>
                <a:gd name="T36" fmla="*/ 39 w 831"/>
                <a:gd name="T37" fmla="*/ 35 h 551"/>
                <a:gd name="T38" fmla="*/ 60 w 831"/>
                <a:gd name="T39" fmla="*/ 81 h 551"/>
                <a:gd name="T40" fmla="*/ 112 w 831"/>
                <a:gd name="T41" fmla="*/ 126 h 551"/>
                <a:gd name="T42" fmla="*/ 91 w 831"/>
                <a:gd name="T43" fmla="*/ 205 h 551"/>
                <a:gd name="T44" fmla="*/ 183 w 831"/>
                <a:gd name="T45" fmla="*/ 205 h 551"/>
                <a:gd name="T46" fmla="*/ 239 w 831"/>
                <a:gd name="T47" fmla="*/ 239 h 551"/>
                <a:gd name="T48" fmla="*/ 338 w 831"/>
                <a:gd name="T49" fmla="*/ 297 h 551"/>
                <a:gd name="T50" fmla="*/ 374 w 831"/>
                <a:gd name="T51" fmla="*/ 363 h 551"/>
                <a:gd name="T52" fmla="*/ 372 w 831"/>
                <a:gd name="T53" fmla="*/ 363 h 551"/>
                <a:gd name="T54" fmla="*/ 347 w 831"/>
                <a:gd name="T55" fmla="*/ 373 h 551"/>
                <a:gd name="T56" fmla="*/ 327 w 831"/>
                <a:gd name="T57" fmla="*/ 413 h 551"/>
                <a:gd name="T58" fmla="*/ 415 w 831"/>
                <a:gd name="T59" fmla="*/ 413 h 551"/>
                <a:gd name="T60" fmla="*/ 489 w 831"/>
                <a:gd name="T61" fmla="*/ 501 h 551"/>
                <a:gd name="T62" fmla="*/ 506 w 831"/>
                <a:gd name="T63" fmla="*/ 493 h 551"/>
                <a:gd name="T64" fmla="*/ 509 w 831"/>
                <a:gd name="T65" fmla="*/ 492 h 551"/>
                <a:gd name="T66" fmla="*/ 507 w 831"/>
                <a:gd name="T67" fmla="*/ 492 h 551"/>
                <a:gd name="T68" fmla="*/ 543 w 831"/>
                <a:gd name="T69" fmla="*/ 437 h 551"/>
                <a:gd name="T70" fmla="*/ 548 w 831"/>
                <a:gd name="T71" fmla="*/ 437 h 551"/>
                <a:gd name="T72" fmla="*/ 570 w 831"/>
                <a:gd name="T73" fmla="*/ 397 h 551"/>
                <a:gd name="T74" fmla="*/ 575 w 831"/>
                <a:gd name="T75" fmla="*/ 392 h 551"/>
                <a:gd name="T76" fmla="*/ 658 w 831"/>
                <a:gd name="T77" fmla="*/ 405 h 551"/>
                <a:gd name="T78" fmla="*/ 728 w 831"/>
                <a:gd name="T79" fmla="*/ 505 h 551"/>
                <a:gd name="T80" fmla="*/ 822 w 831"/>
                <a:gd name="T81" fmla="*/ 537 h 551"/>
                <a:gd name="T82" fmla="*/ 830 w 831"/>
                <a:gd name="T83" fmla="*/ 530 h 551"/>
                <a:gd name="T84" fmla="*/ 824 w 831"/>
                <a:gd name="T85" fmla="*/ 492 h 551"/>
                <a:gd name="T86" fmla="*/ 817 w 831"/>
                <a:gd name="T87" fmla="*/ 492 h 551"/>
                <a:gd name="T88" fmla="*/ 790 w 831"/>
                <a:gd name="T89" fmla="*/ 437 h 551"/>
                <a:gd name="T90" fmla="*/ 800 w 831"/>
                <a:gd name="T91" fmla="*/ 437 h 551"/>
                <a:gd name="T92" fmla="*/ 781 w 831"/>
                <a:gd name="T93" fmla="*/ 417 h 551"/>
                <a:gd name="T94" fmla="*/ 723 w 831"/>
                <a:gd name="T95" fmla="*/ 354 h 551"/>
                <a:gd name="T96" fmla="*/ 714 w 831"/>
                <a:gd name="T97" fmla="*/ 354 h 551"/>
                <a:gd name="T98" fmla="*/ 697 w 831"/>
                <a:gd name="T99" fmla="*/ 309 h 551"/>
                <a:gd name="T100" fmla="*/ 695 w 831"/>
                <a:gd name="T101" fmla="*/ 299 h 551"/>
                <a:gd name="T102" fmla="*/ 702 w 831"/>
                <a:gd name="T103" fmla="*/ 299 h 551"/>
                <a:gd name="T104" fmla="*/ 640 w 831"/>
                <a:gd name="T105" fmla="*/ 247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31" h="551">
                  <a:moveTo>
                    <a:pt x="640" y="247"/>
                  </a:moveTo>
                  <a:cubicBezTo>
                    <a:pt x="633" y="240"/>
                    <a:pt x="626" y="229"/>
                    <a:pt x="619" y="217"/>
                  </a:cubicBezTo>
                  <a:cubicBezTo>
                    <a:pt x="610" y="217"/>
                    <a:pt x="610" y="217"/>
                    <a:pt x="610" y="217"/>
                  </a:cubicBezTo>
                  <a:cubicBezTo>
                    <a:pt x="596" y="195"/>
                    <a:pt x="578" y="172"/>
                    <a:pt x="549" y="162"/>
                  </a:cubicBezTo>
                  <a:cubicBezTo>
                    <a:pt x="567" y="162"/>
                    <a:pt x="567" y="162"/>
                    <a:pt x="567" y="162"/>
                  </a:cubicBezTo>
                  <a:cubicBezTo>
                    <a:pt x="561" y="159"/>
                    <a:pt x="555" y="157"/>
                    <a:pt x="548" y="155"/>
                  </a:cubicBezTo>
                  <a:cubicBezTo>
                    <a:pt x="496" y="143"/>
                    <a:pt x="482" y="122"/>
                    <a:pt x="425" y="89"/>
                  </a:cubicBezTo>
                  <a:cubicBezTo>
                    <a:pt x="420" y="86"/>
                    <a:pt x="413" y="83"/>
                    <a:pt x="406" y="80"/>
                  </a:cubicBezTo>
                  <a:cubicBezTo>
                    <a:pt x="387" y="80"/>
                    <a:pt x="387" y="80"/>
                    <a:pt x="387" y="80"/>
                  </a:cubicBezTo>
                  <a:cubicBezTo>
                    <a:pt x="325" y="60"/>
                    <a:pt x="235" y="63"/>
                    <a:pt x="232" y="81"/>
                  </a:cubicBezTo>
                  <a:cubicBezTo>
                    <a:pt x="232" y="81"/>
                    <a:pt x="232" y="81"/>
                    <a:pt x="232" y="82"/>
                  </a:cubicBezTo>
                  <a:cubicBezTo>
                    <a:pt x="231" y="81"/>
                    <a:pt x="231" y="81"/>
                    <a:pt x="230" y="80"/>
                  </a:cubicBezTo>
                  <a:cubicBezTo>
                    <a:pt x="218" y="80"/>
                    <a:pt x="218" y="80"/>
                    <a:pt x="218" y="80"/>
                  </a:cubicBezTo>
                  <a:cubicBezTo>
                    <a:pt x="212" y="75"/>
                    <a:pt x="204" y="69"/>
                    <a:pt x="190" y="64"/>
                  </a:cubicBezTo>
                  <a:cubicBezTo>
                    <a:pt x="148" y="47"/>
                    <a:pt x="116" y="64"/>
                    <a:pt x="105" y="35"/>
                  </a:cubicBezTo>
                  <a:cubicBezTo>
                    <a:pt x="104" y="31"/>
                    <a:pt x="103" y="28"/>
                    <a:pt x="101" y="25"/>
                  </a:cubicBezTo>
                  <a:cubicBezTo>
                    <a:pt x="109" y="25"/>
                    <a:pt x="109" y="25"/>
                    <a:pt x="109" y="25"/>
                  </a:cubicBezTo>
                  <a:cubicBezTo>
                    <a:pt x="100" y="6"/>
                    <a:pt x="84" y="0"/>
                    <a:pt x="64" y="14"/>
                  </a:cubicBezTo>
                  <a:cubicBezTo>
                    <a:pt x="56" y="18"/>
                    <a:pt x="48" y="24"/>
                    <a:pt x="39" y="35"/>
                  </a:cubicBezTo>
                  <a:cubicBezTo>
                    <a:pt x="12" y="66"/>
                    <a:pt x="0" y="68"/>
                    <a:pt x="60" y="81"/>
                  </a:cubicBezTo>
                  <a:cubicBezTo>
                    <a:pt x="119" y="93"/>
                    <a:pt x="137" y="93"/>
                    <a:pt x="112" y="126"/>
                  </a:cubicBezTo>
                  <a:cubicBezTo>
                    <a:pt x="88" y="160"/>
                    <a:pt x="70" y="201"/>
                    <a:pt x="91" y="205"/>
                  </a:cubicBezTo>
                  <a:cubicBezTo>
                    <a:pt x="112" y="210"/>
                    <a:pt x="176" y="189"/>
                    <a:pt x="183" y="205"/>
                  </a:cubicBezTo>
                  <a:cubicBezTo>
                    <a:pt x="190" y="222"/>
                    <a:pt x="169" y="226"/>
                    <a:pt x="239" y="239"/>
                  </a:cubicBezTo>
                  <a:cubicBezTo>
                    <a:pt x="310" y="251"/>
                    <a:pt x="324" y="280"/>
                    <a:pt x="338" y="297"/>
                  </a:cubicBezTo>
                  <a:cubicBezTo>
                    <a:pt x="349" y="311"/>
                    <a:pt x="380" y="350"/>
                    <a:pt x="374" y="363"/>
                  </a:cubicBezTo>
                  <a:cubicBezTo>
                    <a:pt x="373" y="363"/>
                    <a:pt x="373" y="363"/>
                    <a:pt x="372" y="363"/>
                  </a:cubicBezTo>
                  <a:cubicBezTo>
                    <a:pt x="364" y="363"/>
                    <a:pt x="355" y="368"/>
                    <a:pt x="347" y="373"/>
                  </a:cubicBezTo>
                  <a:cubicBezTo>
                    <a:pt x="326" y="385"/>
                    <a:pt x="311" y="410"/>
                    <a:pt x="327" y="413"/>
                  </a:cubicBezTo>
                  <a:cubicBezTo>
                    <a:pt x="348" y="418"/>
                    <a:pt x="412" y="401"/>
                    <a:pt x="415" y="413"/>
                  </a:cubicBezTo>
                  <a:cubicBezTo>
                    <a:pt x="419" y="426"/>
                    <a:pt x="454" y="505"/>
                    <a:pt x="489" y="501"/>
                  </a:cubicBezTo>
                  <a:cubicBezTo>
                    <a:pt x="495" y="500"/>
                    <a:pt x="500" y="497"/>
                    <a:pt x="506" y="493"/>
                  </a:cubicBezTo>
                  <a:cubicBezTo>
                    <a:pt x="507" y="492"/>
                    <a:pt x="508" y="492"/>
                    <a:pt x="509" y="492"/>
                  </a:cubicBezTo>
                  <a:cubicBezTo>
                    <a:pt x="507" y="492"/>
                    <a:pt x="507" y="492"/>
                    <a:pt x="507" y="492"/>
                  </a:cubicBezTo>
                  <a:cubicBezTo>
                    <a:pt x="521" y="479"/>
                    <a:pt x="533" y="457"/>
                    <a:pt x="543" y="437"/>
                  </a:cubicBezTo>
                  <a:cubicBezTo>
                    <a:pt x="548" y="437"/>
                    <a:pt x="548" y="437"/>
                    <a:pt x="548" y="437"/>
                  </a:cubicBezTo>
                  <a:cubicBezTo>
                    <a:pt x="556" y="420"/>
                    <a:pt x="563" y="405"/>
                    <a:pt x="570" y="397"/>
                  </a:cubicBezTo>
                  <a:cubicBezTo>
                    <a:pt x="571" y="395"/>
                    <a:pt x="573" y="393"/>
                    <a:pt x="575" y="392"/>
                  </a:cubicBezTo>
                  <a:cubicBezTo>
                    <a:pt x="602" y="378"/>
                    <a:pt x="652" y="374"/>
                    <a:pt x="658" y="405"/>
                  </a:cubicBezTo>
                  <a:cubicBezTo>
                    <a:pt x="665" y="443"/>
                    <a:pt x="686" y="480"/>
                    <a:pt x="728" y="505"/>
                  </a:cubicBezTo>
                  <a:cubicBezTo>
                    <a:pt x="768" y="528"/>
                    <a:pt x="813" y="551"/>
                    <a:pt x="822" y="537"/>
                  </a:cubicBezTo>
                  <a:cubicBezTo>
                    <a:pt x="826" y="536"/>
                    <a:pt x="829" y="534"/>
                    <a:pt x="830" y="530"/>
                  </a:cubicBezTo>
                  <a:cubicBezTo>
                    <a:pt x="831" y="522"/>
                    <a:pt x="829" y="508"/>
                    <a:pt x="824" y="492"/>
                  </a:cubicBezTo>
                  <a:cubicBezTo>
                    <a:pt x="817" y="492"/>
                    <a:pt x="817" y="492"/>
                    <a:pt x="817" y="492"/>
                  </a:cubicBezTo>
                  <a:cubicBezTo>
                    <a:pt x="810" y="472"/>
                    <a:pt x="801" y="451"/>
                    <a:pt x="790" y="437"/>
                  </a:cubicBezTo>
                  <a:cubicBezTo>
                    <a:pt x="800" y="437"/>
                    <a:pt x="800" y="437"/>
                    <a:pt x="800" y="437"/>
                  </a:cubicBezTo>
                  <a:cubicBezTo>
                    <a:pt x="794" y="428"/>
                    <a:pt x="788" y="420"/>
                    <a:pt x="781" y="417"/>
                  </a:cubicBezTo>
                  <a:cubicBezTo>
                    <a:pt x="764" y="410"/>
                    <a:pt x="740" y="382"/>
                    <a:pt x="723" y="354"/>
                  </a:cubicBezTo>
                  <a:cubicBezTo>
                    <a:pt x="714" y="354"/>
                    <a:pt x="714" y="354"/>
                    <a:pt x="714" y="354"/>
                  </a:cubicBezTo>
                  <a:cubicBezTo>
                    <a:pt x="704" y="337"/>
                    <a:pt x="697" y="320"/>
                    <a:pt x="697" y="309"/>
                  </a:cubicBezTo>
                  <a:cubicBezTo>
                    <a:pt x="697" y="306"/>
                    <a:pt x="696" y="302"/>
                    <a:pt x="695" y="299"/>
                  </a:cubicBezTo>
                  <a:cubicBezTo>
                    <a:pt x="702" y="299"/>
                    <a:pt x="702" y="299"/>
                    <a:pt x="702" y="299"/>
                  </a:cubicBezTo>
                  <a:cubicBezTo>
                    <a:pt x="697" y="275"/>
                    <a:pt x="660" y="266"/>
                    <a:pt x="640" y="247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3" name="Freeform 47"/>
            <p:cNvSpPr>
              <a:spLocks/>
            </p:cNvSpPr>
            <p:nvPr/>
          </p:nvSpPr>
          <p:spPr bwMode="auto">
            <a:xfrm>
              <a:off x="8591550" y="5183188"/>
              <a:ext cx="128587" cy="182563"/>
            </a:xfrm>
            <a:custGeom>
              <a:avLst/>
              <a:gdLst>
                <a:gd name="T0" fmla="*/ 202 w 226"/>
                <a:gd name="T1" fmla="*/ 142 h 321"/>
                <a:gd name="T2" fmla="*/ 190 w 226"/>
                <a:gd name="T3" fmla="*/ 135 h 321"/>
                <a:gd name="T4" fmla="*/ 172 w 226"/>
                <a:gd name="T5" fmla="*/ 142 h 321"/>
                <a:gd name="T6" fmla="*/ 151 w 226"/>
                <a:gd name="T7" fmla="*/ 142 h 321"/>
                <a:gd name="T8" fmla="*/ 137 w 226"/>
                <a:gd name="T9" fmla="*/ 135 h 321"/>
                <a:gd name="T10" fmla="*/ 94 w 226"/>
                <a:gd name="T11" fmla="*/ 87 h 321"/>
                <a:gd name="T12" fmla="*/ 103 w 226"/>
                <a:gd name="T13" fmla="*/ 87 h 321"/>
                <a:gd name="T14" fmla="*/ 98 w 226"/>
                <a:gd name="T15" fmla="*/ 76 h 321"/>
                <a:gd name="T16" fmla="*/ 66 w 226"/>
                <a:gd name="T17" fmla="*/ 5 h 321"/>
                <a:gd name="T18" fmla="*/ 55 w 226"/>
                <a:gd name="T19" fmla="*/ 5 h 321"/>
                <a:gd name="T20" fmla="*/ 31 w 226"/>
                <a:gd name="T21" fmla="*/ 6 h 321"/>
                <a:gd name="T22" fmla="*/ 45 w 226"/>
                <a:gd name="T23" fmla="*/ 77 h 321"/>
                <a:gd name="T24" fmla="*/ 63 w 226"/>
                <a:gd name="T25" fmla="*/ 168 h 321"/>
                <a:gd name="T26" fmla="*/ 28 w 226"/>
                <a:gd name="T27" fmla="*/ 226 h 321"/>
                <a:gd name="T28" fmla="*/ 102 w 226"/>
                <a:gd name="T29" fmla="*/ 251 h 321"/>
                <a:gd name="T30" fmla="*/ 98 w 226"/>
                <a:gd name="T31" fmla="*/ 318 h 321"/>
                <a:gd name="T32" fmla="*/ 127 w 226"/>
                <a:gd name="T33" fmla="*/ 310 h 321"/>
                <a:gd name="T34" fmla="*/ 150 w 226"/>
                <a:gd name="T35" fmla="*/ 279 h 321"/>
                <a:gd name="T36" fmla="*/ 146 w 226"/>
                <a:gd name="T37" fmla="*/ 279 h 321"/>
                <a:gd name="T38" fmla="*/ 155 w 226"/>
                <a:gd name="T39" fmla="*/ 260 h 321"/>
                <a:gd name="T40" fmla="*/ 173 w 226"/>
                <a:gd name="T41" fmla="*/ 224 h 321"/>
                <a:gd name="T42" fmla="*/ 177 w 226"/>
                <a:gd name="T43" fmla="*/ 224 h 321"/>
                <a:gd name="T44" fmla="*/ 210 w 226"/>
                <a:gd name="T45" fmla="*/ 185 h 321"/>
                <a:gd name="T46" fmla="*/ 212 w 226"/>
                <a:gd name="T47" fmla="*/ 142 h 321"/>
                <a:gd name="T48" fmla="*/ 202 w 226"/>
                <a:gd name="T49" fmla="*/ 14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6" h="321">
                  <a:moveTo>
                    <a:pt x="202" y="142"/>
                  </a:moveTo>
                  <a:cubicBezTo>
                    <a:pt x="198" y="138"/>
                    <a:pt x="194" y="135"/>
                    <a:pt x="190" y="135"/>
                  </a:cubicBezTo>
                  <a:cubicBezTo>
                    <a:pt x="183" y="135"/>
                    <a:pt x="178" y="139"/>
                    <a:pt x="172" y="142"/>
                  </a:cubicBezTo>
                  <a:cubicBezTo>
                    <a:pt x="151" y="142"/>
                    <a:pt x="151" y="142"/>
                    <a:pt x="151" y="142"/>
                  </a:cubicBezTo>
                  <a:cubicBezTo>
                    <a:pt x="147" y="140"/>
                    <a:pt x="142" y="138"/>
                    <a:pt x="137" y="135"/>
                  </a:cubicBezTo>
                  <a:cubicBezTo>
                    <a:pt x="107" y="115"/>
                    <a:pt x="111" y="121"/>
                    <a:pt x="94" y="87"/>
                  </a:cubicBezTo>
                  <a:cubicBezTo>
                    <a:pt x="103" y="87"/>
                    <a:pt x="103" y="87"/>
                    <a:pt x="103" y="87"/>
                  </a:cubicBezTo>
                  <a:cubicBezTo>
                    <a:pt x="101" y="84"/>
                    <a:pt x="100" y="81"/>
                    <a:pt x="98" y="76"/>
                  </a:cubicBezTo>
                  <a:cubicBezTo>
                    <a:pt x="84" y="50"/>
                    <a:pt x="78" y="19"/>
                    <a:pt x="66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49" y="1"/>
                    <a:pt x="41" y="0"/>
                    <a:pt x="31" y="6"/>
                  </a:cubicBezTo>
                  <a:cubicBezTo>
                    <a:pt x="17" y="14"/>
                    <a:pt x="31" y="60"/>
                    <a:pt x="45" y="77"/>
                  </a:cubicBezTo>
                  <a:cubicBezTo>
                    <a:pt x="60" y="93"/>
                    <a:pt x="67" y="151"/>
                    <a:pt x="63" y="168"/>
                  </a:cubicBezTo>
                  <a:cubicBezTo>
                    <a:pt x="60" y="185"/>
                    <a:pt x="0" y="206"/>
                    <a:pt x="28" y="226"/>
                  </a:cubicBezTo>
                  <a:cubicBezTo>
                    <a:pt x="56" y="247"/>
                    <a:pt x="109" y="226"/>
                    <a:pt x="102" y="251"/>
                  </a:cubicBezTo>
                  <a:cubicBezTo>
                    <a:pt x="95" y="276"/>
                    <a:pt x="67" y="310"/>
                    <a:pt x="98" y="318"/>
                  </a:cubicBezTo>
                  <a:cubicBezTo>
                    <a:pt x="110" y="321"/>
                    <a:pt x="119" y="317"/>
                    <a:pt x="127" y="310"/>
                  </a:cubicBezTo>
                  <a:cubicBezTo>
                    <a:pt x="137" y="304"/>
                    <a:pt x="144" y="293"/>
                    <a:pt x="150" y="279"/>
                  </a:cubicBezTo>
                  <a:cubicBezTo>
                    <a:pt x="146" y="279"/>
                    <a:pt x="146" y="279"/>
                    <a:pt x="146" y="279"/>
                  </a:cubicBezTo>
                  <a:cubicBezTo>
                    <a:pt x="149" y="273"/>
                    <a:pt x="151" y="266"/>
                    <a:pt x="155" y="260"/>
                  </a:cubicBezTo>
                  <a:cubicBezTo>
                    <a:pt x="161" y="247"/>
                    <a:pt x="166" y="235"/>
                    <a:pt x="173" y="224"/>
                  </a:cubicBezTo>
                  <a:cubicBezTo>
                    <a:pt x="177" y="224"/>
                    <a:pt x="177" y="224"/>
                    <a:pt x="177" y="224"/>
                  </a:cubicBezTo>
                  <a:cubicBezTo>
                    <a:pt x="186" y="209"/>
                    <a:pt x="195" y="195"/>
                    <a:pt x="210" y="185"/>
                  </a:cubicBezTo>
                  <a:cubicBezTo>
                    <a:pt x="226" y="174"/>
                    <a:pt x="221" y="154"/>
                    <a:pt x="212" y="142"/>
                  </a:cubicBezTo>
                  <a:lnTo>
                    <a:pt x="202" y="142"/>
                  </a:ln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4" name="Freeform 48"/>
            <p:cNvSpPr>
              <a:spLocks/>
            </p:cNvSpPr>
            <p:nvPr/>
          </p:nvSpPr>
          <p:spPr bwMode="auto">
            <a:xfrm>
              <a:off x="8701088" y="4654550"/>
              <a:ext cx="66675" cy="60325"/>
            </a:xfrm>
            <a:custGeom>
              <a:avLst/>
              <a:gdLst>
                <a:gd name="T0" fmla="*/ 102 w 117"/>
                <a:gd name="T1" fmla="*/ 3 h 106"/>
                <a:gd name="T2" fmla="*/ 75 w 117"/>
                <a:gd name="T3" fmla="*/ 11 h 106"/>
                <a:gd name="T4" fmla="*/ 0 w 117"/>
                <a:gd name="T5" fmla="*/ 95 h 106"/>
                <a:gd name="T6" fmla="*/ 84 w 117"/>
                <a:gd name="T7" fmla="*/ 55 h 106"/>
                <a:gd name="T8" fmla="*/ 87 w 117"/>
                <a:gd name="T9" fmla="*/ 55 h 106"/>
                <a:gd name="T10" fmla="*/ 102 w 117"/>
                <a:gd name="T11" fmla="*/ 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7" h="106">
                  <a:moveTo>
                    <a:pt x="102" y="3"/>
                  </a:moveTo>
                  <a:cubicBezTo>
                    <a:pt x="94" y="0"/>
                    <a:pt x="85" y="4"/>
                    <a:pt x="75" y="11"/>
                  </a:cubicBezTo>
                  <a:cubicBezTo>
                    <a:pt x="42" y="28"/>
                    <a:pt x="0" y="95"/>
                    <a:pt x="0" y="95"/>
                  </a:cubicBezTo>
                  <a:cubicBezTo>
                    <a:pt x="26" y="106"/>
                    <a:pt x="62" y="82"/>
                    <a:pt x="84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107" y="33"/>
                    <a:pt x="117" y="9"/>
                    <a:pt x="102" y="3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5" name="Freeform 49"/>
            <p:cNvSpPr>
              <a:spLocks/>
            </p:cNvSpPr>
            <p:nvPr/>
          </p:nvSpPr>
          <p:spPr bwMode="auto">
            <a:xfrm>
              <a:off x="7372350" y="3886200"/>
              <a:ext cx="80962" cy="58738"/>
            </a:xfrm>
            <a:custGeom>
              <a:avLst/>
              <a:gdLst>
                <a:gd name="T0" fmla="*/ 49 w 144"/>
                <a:gd name="T1" fmla="*/ 9 h 105"/>
                <a:gd name="T2" fmla="*/ 45 w 144"/>
                <a:gd name="T3" fmla="*/ 13 h 105"/>
                <a:gd name="T4" fmla="*/ 42 w 144"/>
                <a:gd name="T5" fmla="*/ 14 h 105"/>
                <a:gd name="T6" fmla="*/ 39 w 144"/>
                <a:gd name="T7" fmla="*/ 93 h 105"/>
                <a:gd name="T8" fmla="*/ 130 w 144"/>
                <a:gd name="T9" fmla="*/ 84 h 105"/>
                <a:gd name="T10" fmla="*/ 97 w 144"/>
                <a:gd name="T11" fmla="*/ 37 h 105"/>
                <a:gd name="T12" fmla="*/ 107 w 144"/>
                <a:gd name="T13" fmla="*/ 37 h 105"/>
                <a:gd name="T14" fmla="*/ 49 w 144"/>
                <a:gd name="T15" fmla="*/ 9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4" h="105">
                  <a:moveTo>
                    <a:pt x="49" y="9"/>
                  </a:moveTo>
                  <a:cubicBezTo>
                    <a:pt x="48" y="10"/>
                    <a:pt x="46" y="11"/>
                    <a:pt x="45" y="13"/>
                  </a:cubicBezTo>
                  <a:cubicBezTo>
                    <a:pt x="44" y="13"/>
                    <a:pt x="43" y="13"/>
                    <a:pt x="42" y="14"/>
                  </a:cubicBezTo>
                  <a:cubicBezTo>
                    <a:pt x="30" y="19"/>
                    <a:pt x="0" y="93"/>
                    <a:pt x="39" y="93"/>
                  </a:cubicBezTo>
                  <a:cubicBezTo>
                    <a:pt x="78" y="93"/>
                    <a:pt x="144" y="105"/>
                    <a:pt x="130" y="84"/>
                  </a:cubicBezTo>
                  <a:cubicBezTo>
                    <a:pt x="124" y="74"/>
                    <a:pt x="112" y="54"/>
                    <a:pt x="97" y="37"/>
                  </a:cubicBezTo>
                  <a:cubicBezTo>
                    <a:pt x="107" y="37"/>
                    <a:pt x="107" y="37"/>
                    <a:pt x="107" y="37"/>
                  </a:cubicBezTo>
                  <a:cubicBezTo>
                    <a:pt x="91" y="17"/>
                    <a:pt x="71" y="0"/>
                    <a:pt x="49" y="9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6" name="Freeform 50"/>
            <p:cNvSpPr>
              <a:spLocks/>
            </p:cNvSpPr>
            <p:nvPr/>
          </p:nvSpPr>
          <p:spPr bwMode="auto">
            <a:xfrm>
              <a:off x="8370888" y="4779963"/>
              <a:ext cx="82550" cy="65088"/>
            </a:xfrm>
            <a:custGeom>
              <a:avLst/>
              <a:gdLst>
                <a:gd name="T0" fmla="*/ 141 w 143"/>
                <a:gd name="T1" fmla="*/ 79 h 115"/>
                <a:gd name="T2" fmla="*/ 110 w 143"/>
                <a:gd name="T3" fmla="*/ 29 h 115"/>
                <a:gd name="T4" fmla="*/ 95 w 143"/>
                <a:gd name="T5" fmla="*/ 29 h 115"/>
                <a:gd name="T6" fmla="*/ 64 w 143"/>
                <a:gd name="T7" fmla="*/ 17 h 115"/>
                <a:gd name="T8" fmla="*/ 64 w 143"/>
                <a:gd name="T9" fmla="*/ 67 h 115"/>
                <a:gd name="T10" fmla="*/ 126 w 143"/>
                <a:gd name="T11" fmla="*/ 100 h 115"/>
                <a:gd name="T12" fmla="*/ 141 w 143"/>
                <a:gd name="T13" fmla="*/ 79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3" h="115">
                  <a:moveTo>
                    <a:pt x="141" y="79"/>
                  </a:moveTo>
                  <a:cubicBezTo>
                    <a:pt x="143" y="64"/>
                    <a:pt x="138" y="44"/>
                    <a:pt x="110" y="29"/>
                  </a:cubicBezTo>
                  <a:cubicBezTo>
                    <a:pt x="95" y="29"/>
                    <a:pt x="95" y="29"/>
                    <a:pt x="95" y="29"/>
                  </a:cubicBezTo>
                  <a:cubicBezTo>
                    <a:pt x="87" y="24"/>
                    <a:pt x="76" y="20"/>
                    <a:pt x="64" y="17"/>
                  </a:cubicBezTo>
                  <a:cubicBezTo>
                    <a:pt x="0" y="0"/>
                    <a:pt x="43" y="30"/>
                    <a:pt x="64" y="67"/>
                  </a:cubicBezTo>
                  <a:cubicBezTo>
                    <a:pt x="81" y="97"/>
                    <a:pt x="111" y="115"/>
                    <a:pt x="126" y="100"/>
                  </a:cubicBezTo>
                  <a:cubicBezTo>
                    <a:pt x="133" y="98"/>
                    <a:pt x="139" y="92"/>
                    <a:pt x="141" y="79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7" name="Freeform 51"/>
            <p:cNvSpPr>
              <a:spLocks/>
            </p:cNvSpPr>
            <p:nvPr/>
          </p:nvSpPr>
          <p:spPr bwMode="auto">
            <a:xfrm>
              <a:off x="8435975" y="5335588"/>
              <a:ext cx="192087" cy="179388"/>
            </a:xfrm>
            <a:custGeom>
              <a:avLst/>
              <a:gdLst>
                <a:gd name="T0" fmla="*/ 305 w 338"/>
                <a:gd name="T1" fmla="*/ 11 h 316"/>
                <a:gd name="T2" fmla="*/ 294 w 338"/>
                <a:gd name="T3" fmla="*/ 11 h 316"/>
                <a:gd name="T4" fmla="*/ 278 w 338"/>
                <a:gd name="T5" fmla="*/ 4 h 316"/>
                <a:gd name="T6" fmla="*/ 263 w 338"/>
                <a:gd name="T7" fmla="*/ 22 h 316"/>
                <a:gd name="T8" fmla="*/ 241 w 338"/>
                <a:gd name="T9" fmla="*/ 36 h 316"/>
                <a:gd name="T10" fmla="*/ 222 w 338"/>
                <a:gd name="T11" fmla="*/ 50 h 316"/>
                <a:gd name="T12" fmla="*/ 162 w 338"/>
                <a:gd name="T13" fmla="*/ 121 h 316"/>
                <a:gd name="T14" fmla="*/ 14 w 338"/>
                <a:gd name="T15" fmla="*/ 245 h 316"/>
                <a:gd name="T16" fmla="*/ 85 w 338"/>
                <a:gd name="T17" fmla="*/ 308 h 316"/>
                <a:gd name="T18" fmla="*/ 139 w 338"/>
                <a:gd name="T19" fmla="*/ 307 h 316"/>
                <a:gd name="T20" fmla="*/ 160 w 338"/>
                <a:gd name="T21" fmla="*/ 286 h 316"/>
                <a:gd name="T22" fmla="*/ 157 w 338"/>
                <a:gd name="T23" fmla="*/ 286 h 316"/>
                <a:gd name="T24" fmla="*/ 166 w 338"/>
                <a:gd name="T25" fmla="*/ 274 h 316"/>
                <a:gd name="T26" fmla="*/ 204 w 338"/>
                <a:gd name="T27" fmla="*/ 231 h 316"/>
                <a:gd name="T28" fmla="*/ 206 w 338"/>
                <a:gd name="T29" fmla="*/ 231 h 316"/>
                <a:gd name="T30" fmla="*/ 292 w 338"/>
                <a:gd name="T31" fmla="*/ 150 h 316"/>
                <a:gd name="T32" fmla="*/ 293 w 338"/>
                <a:gd name="T33" fmla="*/ 148 h 316"/>
                <a:gd name="T34" fmla="*/ 290 w 338"/>
                <a:gd name="T35" fmla="*/ 148 h 316"/>
                <a:gd name="T36" fmla="*/ 323 w 338"/>
                <a:gd name="T37" fmla="*/ 93 h 316"/>
                <a:gd name="T38" fmla="*/ 328 w 338"/>
                <a:gd name="T39" fmla="*/ 93 h 316"/>
                <a:gd name="T40" fmla="*/ 338 w 338"/>
                <a:gd name="T41" fmla="*/ 46 h 316"/>
                <a:gd name="T42" fmla="*/ 305 w 338"/>
                <a:gd name="T43" fmla="*/ 11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8" h="316">
                  <a:moveTo>
                    <a:pt x="305" y="11"/>
                  </a:moveTo>
                  <a:cubicBezTo>
                    <a:pt x="294" y="11"/>
                    <a:pt x="294" y="11"/>
                    <a:pt x="294" y="11"/>
                  </a:cubicBezTo>
                  <a:cubicBezTo>
                    <a:pt x="286" y="4"/>
                    <a:pt x="279" y="0"/>
                    <a:pt x="278" y="4"/>
                  </a:cubicBezTo>
                  <a:cubicBezTo>
                    <a:pt x="276" y="12"/>
                    <a:pt x="270" y="17"/>
                    <a:pt x="263" y="22"/>
                  </a:cubicBezTo>
                  <a:cubicBezTo>
                    <a:pt x="256" y="26"/>
                    <a:pt x="248" y="30"/>
                    <a:pt x="241" y="36"/>
                  </a:cubicBezTo>
                  <a:cubicBezTo>
                    <a:pt x="234" y="40"/>
                    <a:pt x="228" y="44"/>
                    <a:pt x="222" y="50"/>
                  </a:cubicBezTo>
                  <a:cubicBezTo>
                    <a:pt x="201" y="71"/>
                    <a:pt x="222" y="79"/>
                    <a:pt x="162" y="121"/>
                  </a:cubicBezTo>
                  <a:cubicBezTo>
                    <a:pt x="102" y="162"/>
                    <a:pt x="28" y="208"/>
                    <a:pt x="14" y="245"/>
                  </a:cubicBezTo>
                  <a:cubicBezTo>
                    <a:pt x="0" y="283"/>
                    <a:pt x="28" y="304"/>
                    <a:pt x="85" y="308"/>
                  </a:cubicBezTo>
                  <a:cubicBezTo>
                    <a:pt x="121" y="310"/>
                    <a:pt x="128" y="316"/>
                    <a:pt x="139" y="307"/>
                  </a:cubicBezTo>
                  <a:cubicBezTo>
                    <a:pt x="145" y="304"/>
                    <a:pt x="150" y="298"/>
                    <a:pt x="160" y="286"/>
                  </a:cubicBezTo>
                  <a:cubicBezTo>
                    <a:pt x="157" y="286"/>
                    <a:pt x="157" y="286"/>
                    <a:pt x="157" y="286"/>
                  </a:cubicBezTo>
                  <a:cubicBezTo>
                    <a:pt x="160" y="282"/>
                    <a:pt x="162" y="279"/>
                    <a:pt x="166" y="274"/>
                  </a:cubicBezTo>
                  <a:cubicBezTo>
                    <a:pt x="178" y="258"/>
                    <a:pt x="191" y="244"/>
                    <a:pt x="204" y="231"/>
                  </a:cubicBezTo>
                  <a:cubicBezTo>
                    <a:pt x="206" y="231"/>
                    <a:pt x="206" y="231"/>
                    <a:pt x="206" y="231"/>
                  </a:cubicBezTo>
                  <a:cubicBezTo>
                    <a:pt x="233" y="202"/>
                    <a:pt x="260" y="179"/>
                    <a:pt x="292" y="150"/>
                  </a:cubicBezTo>
                  <a:cubicBezTo>
                    <a:pt x="292" y="149"/>
                    <a:pt x="293" y="149"/>
                    <a:pt x="293" y="148"/>
                  </a:cubicBezTo>
                  <a:cubicBezTo>
                    <a:pt x="290" y="148"/>
                    <a:pt x="290" y="148"/>
                    <a:pt x="290" y="148"/>
                  </a:cubicBezTo>
                  <a:cubicBezTo>
                    <a:pt x="307" y="131"/>
                    <a:pt x="317" y="111"/>
                    <a:pt x="323" y="93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37" y="67"/>
                    <a:pt x="338" y="46"/>
                    <a:pt x="338" y="46"/>
                  </a:cubicBezTo>
                  <a:cubicBezTo>
                    <a:pt x="338" y="46"/>
                    <a:pt x="320" y="25"/>
                    <a:pt x="305" y="11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8" name="Freeform 52"/>
            <p:cNvSpPr>
              <a:spLocks/>
            </p:cNvSpPr>
            <p:nvPr/>
          </p:nvSpPr>
          <p:spPr bwMode="auto">
            <a:xfrm>
              <a:off x="7591425" y="4525963"/>
              <a:ext cx="4762" cy="4763"/>
            </a:xfrm>
            <a:custGeom>
              <a:avLst/>
              <a:gdLst>
                <a:gd name="T0" fmla="*/ 0 w 10"/>
                <a:gd name="T1" fmla="*/ 8 h 8"/>
                <a:gd name="T2" fmla="*/ 10 w 10"/>
                <a:gd name="T3" fmla="*/ 8 h 8"/>
                <a:gd name="T4" fmla="*/ 0 w 10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8">
                  <a:moveTo>
                    <a:pt x="0" y="8"/>
                  </a:moveTo>
                  <a:cubicBezTo>
                    <a:pt x="10" y="8"/>
                    <a:pt x="10" y="8"/>
                    <a:pt x="10" y="8"/>
                  </a:cubicBezTo>
                  <a:cubicBezTo>
                    <a:pt x="2" y="0"/>
                    <a:pt x="0" y="1"/>
                    <a:pt x="0" y="8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9" name="Freeform 53"/>
            <p:cNvSpPr>
              <a:spLocks/>
            </p:cNvSpPr>
            <p:nvPr/>
          </p:nvSpPr>
          <p:spPr bwMode="auto">
            <a:xfrm>
              <a:off x="7315200" y="4060825"/>
              <a:ext cx="6350" cy="1588"/>
            </a:xfrm>
            <a:custGeom>
              <a:avLst/>
              <a:gdLst>
                <a:gd name="T0" fmla="*/ 0 w 10"/>
                <a:gd name="T1" fmla="*/ 3 h 3"/>
                <a:gd name="T2" fmla="*/ 10 w 10"/>
                <a:gd name="T3" fmla="*/ 3 h 3"/>
                <a:gd name="T4" fmla="*/ 0 w 10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3">
                  <a:moveTo>
                    <a:pt x="0" y="3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9" y="0"/>
                    <a:pt x="6" y="1"/>
                    <a:pt x="0" y="3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0" name="Freeform 54"/>
            <p:cNvSpPr>
              <a:spLocks/>
            </p:cNvSpPr>
            <p:nvPr/>
          </p:nvSpPr>
          <p:spPr bwMode="auto">
            <a:xfrm>
              <a:off x="5527675" y="4545013"/>
              <a:ext cx="179387" cy="381000"/>
            </a:xfrm>
            <a:custGeom>
              <a:avLst/>
              <a:gdLst>
                <a:gd name="T0" fmla="*/ 294 w 315"/>
                <a:gd name="T1" fmla="*/ 31 h 672"/>
                <a:gd name="T2" fmla="*/ 285 w 315"/>
                <a:gd name="T3" fmla="*/ 31 h 672"/>
                <a:gd name="T4" fmla="*/ 268 w 315"/>
                <a:gd name="T5" fmla="*/ 15 h 672"/>
                <a:gd name="T6" fmla="*/ 183 w 315"/>
                <a:gd name="T7" fmla="*/ 115 h 672"/>
                <a:gd name="T8" fmla="*/ 115 w 315"/>
                <a:gd name="T9" fmla="*/ 186 h 672"/>
                <a:gd name="T10" fmla="*/ 102 w 315"/>
                <a:gd name="T11" fmla="*/ 190 h 672"/>
                <a:gd name="T12" fmla="*/ 62 w 315"/>
                <a:gd name="T13" fmla="*/ 204 h 672"/>
                <a:gd name="T14" fmla="*/ 28 w 315"/>
                <a:gd name="T15" fmla="*/ 285 h 672"/>
                <a:gd name="T16" fmla="*/ 25 w 315"/>
                <a:gd name="T17" fmla="*/ 439 h 672"/>
                <a:gd name="T18" fmla="*/ 39 w 315"/>
                <a:gd name="T19" fmla="*/ 597 h 672"/>
                <a:gd name="T20" fmla="*/ 99 w 315"/>
                <a:gd name="T21" fmla="*/ 672 h 672"/>
                <a:gd name="T22" fmla="*/ 153 w 315"/>
                <a:gd name="T23" fmla="*/ 655 h 672"/>
                <a:gd name="T24" fmla="*/ 193 w 315"/>
                <a:gd name="T25" fmla="*/ 593 h 672"/>
                <a:gd name="T26" fmla="*/ 198 w 315"/>
                <a:gd name="T27" fmla="*/ 580 h 672"/>
                <a:gd name="T28" fmla="*/ 192 w 315"/>
                <a:gd name="T29" fmla="*/ 580 h 672"/>
                <a:gd name="T30" fmla="*/ 208 w 315"/>
                <a:gd name="T31" fmla="*/ 525 h 672"/>
                <a:gd name="T32" fmla="*/ 213 w 315"/>
                <a:gd name="T33" fmla="*/ 525 h 672"/>
                <a:gd name="T34" fmla="*/ 238 w 315"/>
                <a:gd name="T35" fmla="*/ 443 h 672"/>
                <a:gd name="T36" fmla="*/ 233 w 315"/>
                <a:gd name="T37" fmla="*/ 443 h 672"/>
                <a:gd name="T38" fmla="*/ 252 w 315"/>
                <a:gd name="T39" fmla="*/ 388 h 672"/>
                <a:gd name="T40" fmla="*/ 257 w 315"/>
                <a:gd name="T41" fmla="*/ 388 h 672"/>
                <a:gd name="T42" fmla="*/ 279 w 315"/>
                <a:gd name="T43" fmla="*/ 305 h 672"/>
                <a:gd name="T44" fmla="*/ 273 w 315"/>
                <a:gd name="T45" fmla="*/ 305 h 672"/>
                <a:gd name="T46" fmla="*/ 282 w 315"/>
                <a:gd name="T47" fmla="*/ 277 h 672"/>
                <a:gd name="T48" fmla="*/ 291 w 315"/>
                <a:gd name="T49" fmla="*/ 250 h 672"/>
                <a:gd name="T50" fmla="*/ 296 w 315"/>
                <a:gd name="T51" fmla="*/ 250 h 672"/>
                <a:gd name="T52" fmla="*/ 314 w 315"/>
                <a:gd name="T53" fmla="*/ 168 h 672"/>
                <a:gd name="T54" fmla="*/ 308 w 315"/>
                <a:gd name="T55" fmla="*/ 168 h 672"/>
                <a:gd name="T56" fmla="*/ 310 w 315"/>
                <a:gd name="T57" fmla="*/ 127 h 672"/>
                <a:gd name="T58" fmla="*/ 308 w 315"/>
                <a:gd name="T59" fmla="*/ 113 h 672"/>
                <a:gd name="T60" fmla="*/ 315 w 315"/>
                <a:gd name="T61" fmla="*/ 113 h 672"/>
                <a:gd name="T62" fmla="*/ 294 w 315"/>
                <a:gd name="T63" fmla="*/ 31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15" h="672">
                  <a:moveTo>
                    <a:pt x="294" y="31"/>
                  </a:moveTo>
                  <a:cubicBezTo>
                    <a:pt x="285" y="31"/>
                    <a:pt x="285" y="31"/>
                    <a:pt x="285" y="31"/>
                  </a:cubicBezTo>
                  <a:cubicBezTo>
                    <a:pt x="280" y="23"/>
                    <a:pt x="274" y="17"/>
                    <a:pt x="268" y="15"/>
                  </a:cubicBezTo>
                  <a:cubicBezTo>
                    <a:pt x="223" y="0"/>
                    <a:pt x="218" y="69"/>
                    <a:pt x="183" y="115"/>
                  </a:cubicBezTo>
                  <a:cubicBezTo>
                    <a:pt x="159" y="146"/>
                    <a:pt x="134" y="173"/>
                    <a:pt x="115" y="186"/>
                  </a:cubicBezTo>
                  <a:cubicBezTo>
                    <a:pt x="110" y="189"/>
                    <a:pt x="105" y="191"/>
                    <a:pt x="102" y="190"/>
                  </a:cubicBezTo>
                  <a:cubicBezTo>
                    <a:pt x="96" y="188"/>
                    <a:pt x="79" y="193"/>
                    <a:pt x="62" y="204"/>
                  </a:cubicBezTo>
                  <a:cubicBezTo>
                    <a:pt x="38" y="218"/>
                    <a:pt x="13" y="246"/>
                    <a:pt x="28" y="285"/>
                  </a:cubicBezTo>
                  <a:cubicBezTo>
                    <a:pt x="53" y="348"/>
                    <a:pt x="49" y="410"/>
                    <a:pt x="25" y="439"/>
                  </a:cubicBezTo>
                  <a:cubicBezTo>
                    <a:pt x="0" y="469"/>
                    <a:pt x="46" y="552"/>
                    <a:pt x="39" y="597"/>
                  </a:cubicBezTo>
                  <a:cubicBezTo>
                    <a:pt x="32" y="643"/>
                    <a:pt x="49" y="672"/>
                    <a:pt x="99" y="672"/>
                  </a:cubicBezTo>
                  <a:cubicBezTo>
                    <a:pt x="123" y="672"/>
                    <a:pt x="140" y="667"/>
                    <a:pt x="153" y="655"/>
                  </a:cubicBezTo>
                  <a:cubicBezTo>
                    <a:pt x="170" y="644"/>
                    <a:pt x="181" y="624"/>
                    <a:pt x="193" y="593"/>
                  </a:cubicBezTo>
                  <a:cubicBezTo>
                    <a:pt x="195" y="589"/>
                    <a:pt x="196" y="584"/>
                    <a:pt x="198" y="580"/>
                  </a:cubicBezTo>
                  <a:cubicBezTo>
                    <a:pt x="192" y="580"/>
                    <a:pt x="192" y="580"/>
                    <a:pt x="192" y="580"/>
                  </a:cubicBezTo>
                  <a:cubicBezTo>
                    <a:pt x="198" y="561"/>
                    <a:pt x="203" y="543"/>
                    <a:pt x="208" y="525"/>
                  </a:cubicBezTo>
                  <a:cubicBezTo>
                    <a:pt x="213" y="525"/>
                    <a:pt x="213" y="525"/>
                    <a:pt x="213" y="525"/>
                  </a:cubicBezTo>
                  <a:cubicBezTo>
                    <a:pt x="220" y="496"/>
                    <a:pt x="227" y="468"/>
                    <a:pt x="238" y="443"/>
                  </a:cubicBezTo>
                  <a:cubicBezTo>
                    <a:pt x="233" y="443"/>
                    <a:pt x="233" y="443"/>
                    <a:pt x="233" y="443"/>
                  </a:cubicBezTo>
                  <a:cubicBezTo>
                    <a:pt x="239" y="428"/>
                    <a:pt x="246" y="408"/>
                    <a:pt x="252" y="388"/>
                  </a:cubicBezTo>
                  <a:cubicBezTo>
                    <a:pt x="257" y="388"/>
                    <a:pt x="257" y="388"/>
                    <a:pt x="257" y="388"/>
                  </a:cubicBezTo>
                  <a:cubicBezTo>
                    <a:pt x="265" y="359"/>
                    <a:pt x="272" y="329"/>
                    <a:pt x="279" y="305"/>
                  </a:cubicBezTo>
                  <a:cubicBezTo>
                    <a:pt x="273" y="305"/>
                    <a:pt x="273" y="305"/>
                    <a:pt x="273" y="305"/>
                  </a:cubicBezTo>
                  <a:cubicBezTo>
                    <a:pt x="276" y="293"/>
                    <a:pt x="279" y="283"/>
                    <a:pt x="282" y="277"/>
                  </a:cubicBezTo>
                  <a:cubicBezTo>
                    <a:pt x="284" y="271"/>
                    <a:pt x="287" y="262"/>
                    <a:pt x="291" y="250"/>
                  </a:cubicBezTo>
                  <a:cubicBezTo>
                    <a:pt x="296" y="250"/>
                    <a:pt x="296" y="250"/>
                    <a:pt x="296" y="250"/>
                  </a:cubicBezTo>
                  <a:cubicBezTo>
                    <a:pt x="303" y="228"/>
                    <a:pt x="310" y="197"/>
                    <a:pt x="314" y="168"/>
                  </a:cubicBezTo>
                  <a:cubicBezTo>
                    <a:pt x="308" y="168"/>
                    <a:pt x="308" y="168"/>
                    <a:pt x="308" y="168"/>
                  </a:cubicBezTo>
                  <a:cubicBezTo>
                    <a:pt x="310" y="153"/>
                    <a:pt x="311" y="139"/>
                    <a:pt x="310" y="127"/>
                  </a:cubicBezTo>
                  <a:cubicBezTo>
                    <a:pt x="310" y="123"/>
                    <a:pt x="309" y="118"/>
                    <a:pt x="308" y="113"/>
                  </a:cubicBezTo>
                  <a:cubicBezTo>
                    <a:pt x="315" y="113"/>
                    <a:pt x="315" y="113"/>
                    <a:pt x="315" y="113"/>
                  </a:cubicBezTo>
                  <a:cubicBezTo>
                    <a:pt x="312" y="84"/>
                    <a:pt x="305" y="51"/>
                    <a:pt x="294" y="31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1" name="Freeform 55"/>
            <p:cNvSpPr>
              <a:spLocks/>
            </p:cNvSpPr>
            <p:nvPr/>
          </p:nvSpPr>
          <p:spPr bwMode="auto">
            <a:xfrm>
              <a:off x="2655888" y="3511550"/>
              <a:ext cx="42862" cy="31750"/>
            </a:xfrm>
            <a:custGeom>
              <a:avLst/>
              <a:gdLst>
                <a:gd name="T0" fmla="*/ 37 w 74"/>
                <a:gd name="T1" fmla="*/ 2 h 55"/>
                <a:gd name="T2" fmla="*/ 23 w 74"/>
                <a:gd name="T3" fmla="*/ 8 h 55"/>
                <a:gd name="T4" fmla="*/ 44 w 74"/>
                <a:gd name="T5" fmla="*/ 48 h 55"/>
                <a:gd name="T6" fmla="*/ 49 w 74"/>
                <a:gd name="T7" fmla="*/ 9 h 55"/>
                <a:gd name="T8" fmla="*/ 63 w 74"/>
                <a:gd name="T9" fmla="*/ 9 h 55"/>
                <a:gd name="T10" fmla="*/ 37 w 74"/>
                <a:gd name="T11" fmla="*/ 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55">
                  <a:moveTo>
                    <a:pt x="37" y="2"/>
                  </a:moveTo>
                  <a:cubicBezTo>
                    <a:pt x="31" y="3"/>
                    <a:pt x="26" y="5"/>
                    <a:pt x="23" y="8"/>
                  </a:cubicBezTo>
                  <a:cubicBezTo>
                    <a:pt x="0" y="18"/>
                    <a:pt x="9" y="55"/>
                    <a:pt x="44" y="48"/>
                  </a:cubicBezTo>
                  <a:cubicBezTo>
                    <a:pt x="74" y="41"/>
                    <a:pt x="68" y="17"/>
                    <a:pt x="49" y="9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56" y="4"/>
                    <a:pt x="47" y="0"/>
                    <a:pt x="37" y="2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2" name="Freeform 56"/>
            <p:cNvSpPr>
              <a:spLocks/>
            </p:cNvSpPr>
            <p:nvPr/>
          </p:nvSpPr>
          <p:spPr bwMode="auto">
            <a:xfrm>
              <a:off x="2789238" y="1706562"/>
              <a:ext cx="1306512" cy="836613"/>
            </a:xfrm>
            <a:custGeom>
              <a:avLst/>
              <a:gdLst>
                <a:gd name="T0" fmla="*/ 1909 w 2301"/>
                <a:gd name="T1" fmla="*/ 861 h 1473"/>
                <a:gd name="T2" fmla="*/ 1914 w 2301"/>
                <a:gd name="T3" fmla="*/ 778 h 1473"/>
                <a:gd name="T4" fmla="*/ 2059 w 2301"/>
                <a:gd name="T5" fmla="*/ 785 h 1473"/>
                <a:gd name="T6" fmla="*/ 2055 w 2301"/>
                <a:gd name="T7" fmla="*/ 715 h 1473"/>
                <a:gd name="T8" fmla="*/ 2099 w 2301"/>
                <a:gd name="T9" fmla="*/ 632 h 1473"/>
                <a:gd name="T10" fmla="*/ 2042 w 2301"/>
                <a:gd name="T11" fmla="*/ 592 h 1473"/>
                <a:gd name="T12" fmla="*/ 2079 w 2301"/>
                <a:gd name="T13" fmla="*/ 499 h 1473"/>
                <a:gd name="T14" fmla="*/ 2131 w 2301"/>
                <a:gd name="T15" fmla="*/ 440 h 1473"/>
                <a:gd name="T16" fmla="*/ 2229 w 2301"/>
                <a:gd name="T17" fmla="*/ 362 h 1473"/>
                <a:gd name="T18" fmla="*/ 2285 w 2301"/>
                <a:gd name="T19" fmla="*/ 263 h 1473"/>
                <a:gd name="T20" fmla="*/ 2008 w 2301"/>
                <a:gd name="T21" fmla="*/ 345 h 1473"/>
                <a:gd name="T22" fmla="*/ 1929 w 2301"/>
                <a:gd name="T23" fmla="*/ 221 h 1473"/>
                <a:gd name="T24" fmla="*/ 1897 w 2301"/>
                <a:gd name="T25" fmla="*/ 166 h 1473"/>
                <a:gd name="T26" fmla="*/ 1882 w 2301"/>
                <a:gd name="T27" fmla="*/ 83 h 1473"/>
                <a:gd name="T28" fmla="*/ 1727 w 2301"/>
                <a:gd name="T29" fmla="*/ 71 h 1473"/>
                <a:gd name="T30" fmla="*/ 1638 w 2301"/>
                <a:gd name="T31" fmla="*/ 101 h 1473"/>
                <a:gd name="T32" fmla="*/ 1463 w 2301"/>
                <a:gd name="T33" fmla="*/ 113 h 1473"/>
                <a:gd name="T34" fmla="*/ 1555 w 2301"/>
                <a:gd name="T35" fmla="*/ 29 h 1473"/>
                <a:gd name="T36" fmla="*/ 1305 w 2301"/>
                <a:gd name="T37" fmla="*/ 20 h 1473"/>
                <a:gd name="T38" fmla="*/ 1104 w 2301"/>
                <a:gd name="T39" fmla="*/ 59 h 1473"/>
                <a:gd name="T40" fmla="*/ 1004 w 2301"/>
                <a:gd name="T41" fmla="*/ 97 h 1473"/>
                <a:gd name="T42" fmla="*/ 924 w 2301"/>
                <a:gd name="T43" fmla="*/ 195 h 1473"/>
                <a:gd name="T44" fmla="*/ 873 w 2301"/>
                <a:gd name="T45" fmla="*/ 136 h 1473"/>
                <a:gd name="T46" fmla="*/ 838 w 2301"/>
                <a:gd name="T47" fmla="*/ 256 h 1473"/>
                <a:gd name="T48" fmla="*/ 596 w 2301"/>
                <a:gd name="T49" fmla="*/ 252 h 1473"/>
                <a:gd name="T50" fmla="*/ 424 w 2301"/>
                <a:gd name="T51" fmla="*/ 359 h 1473"/>
                <a:gd name="T52" fmla="*/ 358 w 2301"/>
                <a:gd name="T53" fmla="*/ 358 h 1473"/>
                <a:gd name="T54" fmla="*/ 248 w 2301"/>
                <a:gd name="T55" fmla="*/ 481 h 1473"/>
                <a:gd name="T56" fmla="*/ 100 w 2301"/>
                <a:gd name="T57" fmla="*/ 571 h 1473"/>
                <a:gd name="T58" fmla="*/ 21 w 2301"/>
                <a:gd name="T59" fmla="*/ 606 h 1473"/>
                <a:gd name="T60" fmla="*/ 212 w 2301"/>
                <a:gd name="T61" fmla="*/ 693 h 1473"/>
                <a:gd name="T62" fmla="*/ 239 w 2301"/>
                <a:gd name="T63" fmla="*/ 632 h 1473"/>
                <a:gd name="T64" fmla="*/ 379 w 2301"/>
                <a:gd name="T65" fmla="*/ 670 h 1473"/>
                <a:gd name="T66" fmla="*/ 673 w 2301"/>
                <a:gd name="T67" fmla="*/ 944 h 1473"/>
                <a:gd name="T68" fmla="*/ 715 w 2301"/>
                <a:gd name="T69" fmla="*/ 907 h 1473"/>
                <a:gd name="T70" fmla="*/ 845 w 2301"/>
                <a:gd name="T71" fmla="*/ 986 h 1473"/>
                <a:gd name="T72" fmla="*/ 799 w 2301"/>
                <a:gd name="T73" fmla="*/ 989 h 1473"/>
                <a:gd name="T74" fmla="*/ 768 w 2301"/>
                <a:gd name="T75" fmla="*/ 920 h 1473"/>
                <a:gd name="T76" fmla="*/ 718 w 2301"/>
                <a:gd name="T77" fmla="*/ 1038 h 1473"/>
                <a:gd name="T78" fmla="*/ 772 w 2301"/>
                <a:gd name="T79" fmla="*/ 1213 h 1473"/>
                <a:gd name="T80" fmla="*/ 829 w 2301"/>
                <a:gd name="T81" fmla="*/ 1250 h 1473"/>
                <a:gd name="T82" fmla="*/ 969 w 2301"/>
                <a:gd name="T83" fmla="*/ 1429 h 1473"/>
                <a:gd name="T84" fmla="*/ 1125 w 2301"/>
                <a:gd name="T85" fmla="*/ 1458 h 1473"/>
                <a:gd name="T86" fmla="*/ 1145 w 2301"/>
                <a:gd name="T87" fmla="*/ 1441 h 1473"/>
                <a:gd name="T88" fmla="*/ 1173 w 2301"/>
                <a:gd name="T89" fmla="*/ 1353 h 1473"/>
                <a:gd name="T90" fmla="*/ 1235 w 2301"/>
                <a:gd name="T91" fmla="*/ 1288 h 1473"/>
                <a:gd name="T92" fmla="*/ 1241 w 2301"/>
                <a:gd name="T93" fmla="*/ 1223 h 1473"/>
                <a:gd name="T94" fmla="*/ 1322 w 2301"/>
                <a:gd name="T95" fmla="*/ 1185 h 1473"/>
                <a:gd name="T96" fmla="*/ 1490 w 2301"/>
                <a:gd name="T97" fmla="*/ 1126 h 1473"/>
                <a:gd name="T98" fmla="*/ 1534 w 2301"/>
                <a:gd name="T99" fmla="*/ 1075 h 1473"/>
                <a:gd name="T100" fmla="*/ 1862 w 2301"/>
                <a:gd name="T101" fmla="*/ 1011 h 1473"/>
                <a:gd name="T102" fmla="*/ 1800 w 2301"/>
                <a:gd name="T103" fmla="*/ 951 h 1473"/>
                <a:gd name="T104" fmla="*/ 1764 w 2301"/>
                <a:gd name="T105" fmla="*/ 870 h 1473"/>
                <a:gd name="T106" fmla="*/ 1923 w 2301"/>
                <a:gd name="T107" fmla="*/ 974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01" h="1473">
                  <a:moveTo>
                    <a:pt x="1935" y="907"/>
                  </a:moveTo>
                  <a:cubicBezTo>
                    <a:pt x="1926" y="907"/>
                    <a:pt x="1926" y="907"/>
                    <a:pt x="1926" y="907"/>
                  </a:cubicBezTo>
                  <a:cubicBezTo>
                    <a:pt x="1920" y="893"/>
                    <a:pt x="1915" y="875"/>
                    <a:pt x="1909" y="861"/>
                  </a:cubicBezTo>
                  <a:cubicBezTo>
                    <a:pt x="1908" y="859"/>
                    <a:pt x="1907" y="855"/>
                    <a:pt x="1905" y="852"/>
                  </a:cubicBezTo>
                  <a:cubicBezTo>
                    <a:pt x="1914" y="852"/>
                    <a:pt x="1914" y="852"/>
                    <a:pt x="1914" y="852"/>
                  </a:cubicBezTo>
                  <a:cubicBezTo>
                    <a:pt x="1906" y="833"/>
                    <a:pt x="1895" y="795"/>
                    <a:pt x="1914" y="778"/>
                  </a:cubicBezTo>
                  <a:cubicBezTo>
                    <a:pt x="1917" y="777"/>
                    <a:pt x="1921" y="776"/>
                    <a:pt x="1925" y="775"/>
                  </a:cubicBezTo>
                  <a:cubicBezTo>
                    <a:pt x="1965" y="770"/>
                    <a:pt x="2037" y="820"/>
                    <a:pt x="2050" y="800"/>
                  </a:cubicBezTo>
                  <a:cubicBezTo>
                    <a:pt x="2056" y="798"/>
                    <a:pt x="2060" y="794"/>
                    <a:pt x="2059" y="785"/>
                  </a:cubicBezTo>
                  <a:cubicBezTo>
                    <a:pt x="2059" y="780"/>
                    <a:pt x="2059" y="775"/>
                    <a:pt x="2059" y="770"/>
                  </a:cubicBezTo>
                  <a:cubicBezTo>
                    <a:pt x="2052" y="770"/>
                    <a:pt x="2052" y="770"/>
                    <a:pt x="2052" y="770"/>
                  </a:cubicBezTo>
                  <a:cubicBezTo>
                    <a:pt x="2052" y="750"/>
                    <a:pt x="2053" y="732"/>
                    <a:pt x="2055" y="715"/>
                  </a:cubicBezTo>
                  <a:cubicBezTo>
                    <a:pt x="2061" y="715"/>
                    <a:pt x="2061" y="715"/>
                    <a:pt x="2061" y="715"/>
                  </a:cubicBezTo>
                  <a:cubicBezTo>
                    <a:pt x="2063" y="696"/>
                    <a:pt x="2066" y="680"/>
                    <a:pt x="2072" y="668"/>
                  </a:cubicBezTo>
                  <a:cubicBezTo>
                    <a:pt x="2080" y="653"/>
                    <a:pt x="2093" y="641"/>
                    <a:pt x="2099" y="632"/>
                  </a:cubicBezTo>
                  <a:cubicBezTo>
                    <a:pt x="2095" y="632"/>
                    <a:pt x="2095" y="632"/>
                    <a:pt x="2095" y="632"/>
                  </a:cubicBezTo>
                  <a:cubicBezTo>
                    <a:pt x="2096" y="628"/>
                    <a:pt x="2096" y="625"/>
                    <a:pt x="2091" y="622"/>
                  </a:cubicBezTo>
                  <a:cubicBezTo>
                    <a:pt x="2076" y="614"/>
                    <a:pt x="2057" y="634"/>
                    <a:pt x="2042" y="592"/>
                  </a:cubicBezTo>
                  <a:cubicBezTo>
                    <a:pt x="2040" y="587"/>
                    <a:pt x="2039" y="582"/>
                    <a:pt x="2039" y="577"/>
                  </a:cubicBezTo>
                  <a:cubicBezTo>
                    <a:pt x="2046" y="577"/>
                    <a:pt x="2046" y="577"/>
                    <a:pt x="2046" y="577"/>
                  </a:cubicBezTo>
                  <a:cubicBezTo>
                    <a:pt x="2039" y="541"/>
                    <a:pt x="2063" y="514"/>
                    <a:pt x="2079" y="499"/>
                  </a:cubicBezTo>
                  <a:cubicBezTo>
                    <a:pt x="2079" y="498"/>
                    <a:pt x="2081" y="496"/>
                    <a:pt x="2082" y="495"/>
                  </a:cubicBezTo>
                  <a:cubicBezTo>
                    <a:pt x="2080" y="495"/>
                    <a:pt x="2080" y="495"/>
                    <a:pt x="2080" y="495"/>
                  </a:cubicBezTo>
                  <a:cubicBezTo>
                    <a:pt x="2091" y="483"/>
                    <a:pt x="2109" y="463"/>
                    <a:pt x="2131" y="440"/>
                  </a:cubicBezTo>
                  <a:cubicBezTo>
                    <a:pt x="2133" y="440"/>
                    <a:pt x="2133" y="440"/>
                    <a:pt x="2133" y="440"/>
                  </a:cubicBezTo>
                  <a:cubicBezTo>
                    <a:pt x="2158" y="415"/>
                    <a:pt x="2186" y="388"/>
                    <a:pt x="2210" y="371"/>
                  </a:cubicBezTo>
                  <a:cubicBezTo>
                    <a:pt x="2217" y="367"/>
                    <a:pt x="2223" y="364"/>
                    <a:pt x="2229" y="362"/>
                  </a:cubicBezTo>
                  <a:cubicBezTo>
                    <a:pt x="2258" y="352"/>
                    <a:pt x="2281" y="326"/>
                    <a:pt x="2289" y="303"/>
                  </a:cubicBezTo>
                  <a:cubicBezTo>
                    <a:pt x="2294" y="303"/>
                    <a:pt x="2294" y="303"/>
                    <a:pt x="2294" y="303"/>
                  </a:cubicBezTo>
                  <a:cubicBezTo>
                    <a:pt x="2301" y="286"/>
                    <a:pt x="2300" y="269"/>
                    <a:pt x="2285" y="263"/>
                  </a:cubicBezTo>
                  <a:cubicBezTo>
                    <a:pt x="2254" y="251"/>
                    <a:pt x="2194" y="229"/>
                    <a:pt x="2150" y="259"/>
                  </a:cubicBezTo>
                  <a:cubicBezTo>
                    <a:pt x="2143" y="262"/>
                    <a:pt x="2136" y="267"/>
                    <a:pt x="2130" y="273"/>
                  </a:cubicBezTo>
                  <a:cubicBezTo>
                    <a:pt x="2085" y="317"/>
                    <a:pt x="2059" y="359"/>
                    <a:pt x="2008" y="345"/>
                  </a:cubicBezTo>
                  <a:cubicBezTo>
                    <a:pt x="1986" y="339"/>
                    <a:pt x="1972" y="323"/>
                    <a:pt x="1961" y="303"/>
                  </a:cubicBezTo>
                  <a:cubicBezTo>
                    <a:pt x="1970" y="303"/>
                    <a:pt x="1970" y="303"/>
                    <a:pt x="1970" y="303"/>
                  </a:cubicBezTo>
                  <a:cubicBezTo>
                    <a:pt x="1955" y="277"/>
                    <a:pt x="1945" y="244"/>
                    <a:pt x="1929" y="221"/>
                  </a:cubicBezTo>
                  <a:cubicBezTo>
                    <a:pt x="1920" y="221"/>
                    <a:pt x="1920" y="221"/>
                    <a:pt x="1920" y="221"/>
                  </a:cubicBezTo>
                  <a:cubicBezTo>
                    <a:pt x="1919" y="220"/>
                    <a:pt x="1919" y="220"/>
                    <a:pt x="1919" y="220"/>
                  </a:cubicBezTo>
                  <a:cubicBezTo>
                    <a:pt x="1907" y="205"/>
                    <a:pt x="1901" y="185"/>
                    <a:pt x="1897" y="166"/>
                  </a:cubicBezTo>
                  <a:cubicBezTo>
                    <a:pt x="1904" y="166"/>
                    <a:pt x="1904" y="166"/>
                    <a:pt x="1904" y="166"/>
                  </a:cubicBezTo>
                  <a:cubicBezTo>
                    <a:pt x="1897" y="136"/>
                    <a:pt x="1896" y="104"/>
                    <a:pt x="1890" y="83"/>
                  </a:cubicBezTo>
                  <a:cubicBezTo>
                    <a:pt x="1882" y="83"/>
                    <a:pt x="1882" y="83"/>
                    <a:pt x="1882" y="83"/>
                  </a:cubicBezTo>
                  <a:cubicBezTo>
                    <a:pt x="1878" y="70"/>
                    <a:pt x="1871" y="63"/>
                    <a:pt x="1858" y="65"/>
                  </a:cubicBezTo>
                  <a:cubicBezTo>
                    <a:pt x="1812" y="73"/>
                    <a:pt x="1812" y="73"/>
                    <a:pt x="1812" y="73"/>
                  </a:cubicBezTo>
                  <a:cubicBezTo>
                    <a:pt x="1812" y="73"/>
                    <a:pt x="1760" y="62"/>
                    <a:pt x="1727" y="71"/>
                  </a:cubicBezTo>
                  <a:cubicBezTo>
                    <a:pt x="1715" y="74"/>
                    <a:pt x="1704" y="78"/>
                    <a:pt x="1694" y="83"/>
                  </a:cubicBezTo>
                  <a:cubicBezTo>
                    <a:pt x="1692" y="83"/>
                    <a:pt x="1692" y="83"/>
                    <a:pt x="1692" y="83"/>
                  </a:cubicBezTo>
                  <a:cubicBezTo>
                    <a:pt x="1671" y="95"/>
                    <a:pt x="1654" y="105"/>
                    <a:pt x="1638" y="101"/>
                  </a:cubicBezTo>
                  <a:cubicBezTo>
                    <a:pt x="1590" y="88"/>
                    <a:pt x="1547" y="118"/>
                    <a:pt x="1535" y="121"/>
                  </a:cubicBezTo>
                  <a:cubicBezTo>
                    <a:pt x="1457" y="141"/>
                    <a:pt x="1390" y="126"/>
                    <a:pt x="1355" y="116"/>
                  </a:cubicBezTo>
                  <a:cubicBezTo>
                    <a:pt x="1383" y="118"/>
                    <a:pt x="1426" y="119"/>
                    <a:pt x="1463" y="113"/>
                  </a:cubicBezTo>
                  <a:cubicBezTo>
                    <a:pt x="1514" y="104"/>
                    <a:pt x="1600" y="83"/>
                    <a:pt x="1642" y="75"/>
                  </a:cubicBezTo>
                  <a:cubicBezTo>
                    <a:pt x="1685" y="66"/>
                    <a:pt x="1651" y="47"/>
                    <a:pt x="1636" y="45"/>
                  </a:cubicBezTo>
                  <a:cubicBezTo>
                    <a:pt x="1613" y="42"/>
                    <a:pt x="1585" y="35"/>
                    <a:pt x="1555" y="29"/>
                  </a:cubicBezTo>
                  <a:cubicBezTo>
                    <a:pt x="1580" y="29"/>
                    <a:pt x="1580" y="29"/>
                    <a:pt x="1580" y="29"/>
                  </a:cubicBezTo>
                  <a:cubicBezTo>
                    <a:pt x="1535" y="18"/>
                    <a:pt x="1484" y="6"/>
                    <a:pt x="1441" y="3"/>
                  </a:cubicBezTo>
                  <a:cubicBezTo>
                    <a:pt x="1389" y="0"/>
                    <a:pt x="1356" y="18"/>
                    <a:pt x="1305" y="20"/>
                  </a:cubicBezTo>
                  <a:cubicBezTo>
                    <a:pt x="1264" y="21"/>
                    <a:pt x="1217" y="20"/>
                    <a:pt x="1175" y="29"/>
                  </a:cubicBezTo>
                  <a:cubicBezTo>
                    <a:pt x="1195" y="29"/>
                    <a:pt x="1195" y="29"/>
                    <a:pt x="1195" y="29"/>
                  </a:cubicBezTo>
                  <a:cubicBezTo>
                    <a:pt x="1162" y="32"/>
                    <a:pt x="1130" y="40"/>
                    <a:pt x="1104" y="59"/>
                  </a:cubicBezTo>
                  <a:cubicBezTo>
                    <a:pt x="1089" y="70"/>
                    <a:pt x="1072" y="78"/>
                    <a:pt x="1056" y="83"/>
                  </a:cubicBezTo>
                  <a:cubicBezTo>
                    <a:pt x="1050" y="83"/>
                    <a:pt x="1050" y="83"/>
                    <a:pt x="1050" y="83"/>
                  </a:cubicBezTo>
                  <a:cubicBezTo>
                    <a:pt x="1025" y="91"/>
                    <a:pt x="1006" y="93"/>
                    <a:pt x="1004" y="97"/>
                  </a:cubicBezTo>
                  <a:cubicBezTo>
                    <a:pt x="1003" y="97"/>
                    <a:pt x="1003" y="98"/>
                    <a:pt x="1002" y="98"/>
                  </a:cubicBezTo>
                  <a:cubicBezTo>
                    <a:pt x="1000" y="99"/>
                    <a:pt x="998" y="100"/>
                    <a:pt x="997" y="101"/>
                  </a:cubicBezTo>
                  <a:cubicBezTo>
                    <a:pt x="971" y="134"/>
                    <a:pt x="948" y="218"/>
                    <a:pt x="924" y="195"/>
                  </a:cubicBezTo>
                  <a:cubicBezTo>
                    <a:pt x="916" y="188"/>
                    <a:pt x="910" y="177"/>
                    <a:pt x="905" y="166"/>
                  </a:cubicBezTo>
                  <a:cubicBezTo>
                    <a:pt x="914" y="166"/>
                    <a:pt x="914" y="166"/>
                    <a:pt x="914" y="166"/>
                  </a:cubicBezTo>
                  <a:cubicBezTo>
                    <a:pt x="902" y="143"/>
                    <a:pt x="894" y="120"/>
                    <a:pt x="873" y="136"/>
                  </a:cubicBezTo>
                  <a:cubicBezTo>
                    <a:pt x="872" y="136"/>
                    <a:pt x="872" y="137"/>
                    <a:pt x="871" y="137"/>
                  </a:cubicBezTo>
                  <a:cubicBezTo>
                    <a:pt x="870" y="138"/>
                    <a:pt x="868" y="138"/>
                    <a:pt x="866" y="140"/>
                  </a:cubicBezTo>
                  <a:cubicBezTo>
                    <a:pt x="836" y="162"/>
                    <a:pt x="864" y="218"/>
                    <a:pt x="838" y="256"/>
                  </a:cubicBezTo>
                  <a:cubicBezTo>
                    <a:pt x="835" y="261"/>
                    <a:pt x="831" y="265"/>
                    <a:pt x="827" y="268"/>
                  </a:cubicBezTo>
                  <a:cubicBezTo>
                    <a:pt x="795" y="288"/>
                    <a:pt x="742" y="283"/>
                    <a:pt x="725" y="272"/>
                  </a:cubicBezTo>
                  <a:cubicBezTo>
                    <a:pt x="703" y="258"/>
                    <a:pt x="682" y="247"/>
                    <a:pt x="596" y="252"/>
                  </a:cubicBezTo>
                  <a:cubicBezTo>
                    <a:pt x="541" y="256"/>
                    <a:pt x="483" y="271"/>
                    <a:pt x="453" y="290"/>
                  </a:cubicBezTo>
                  <a:cubicBezTo>
                    <a:pt x="432" y="302"/>
                    <a:pt x="421" y="315"/>
                    <a:pt x="428" y="328"/>
                  </a:cubicBezTo>
                  <a:cubicBezTo>
                    <a:pt x="436" y="341"/>
                    <a:pt x="432" y="351"/>
                    <a:pt x="424" y="359"/>
                  </a:cubicBezTo>
                  <a:cubicBezTo>
                    <a:pt x="410" y="367"/>
                    <a:pt x="389" y="369"/>
                    <a:pt x="381" y="360"/>
                  </a:cubicBezTo>
                  <a:cubicBezTo>
                    <a:pt x="380" y="359"/>
                    <a:pt x="378" y="359"/>
                    <a:pt x="376" y="358"/>
                  </a:cubicBezTo>
                  <a:cubicBezTo>
                    <a:pt x="358" y="358"/>
                    <a:pt x="358" y="358"/>
                    <a:pt x="358" y="358"/>
                  </a:cubicBezTo>
                  <a:cubicBezTo>
                    <a:pt x="349" y="360"/>
                    <a:pt x="338" y="365"/>
                    <a:pt x="329" y="372"/>
                  </a:cubicBezTo>
                  <a:cubicBezTo>
                    <a:pt x="310" y="383"/>
                    <a:pt x="293" y="400"/>
                    <a:pt x="295" y="417"/>
                  </a:cubicBezTo>
                  <a:cubicBezTo>
                    <a:pt x="300" y="450"/>
                    <a:pt x="285" y="489"/>
                    <a:pt x="248" y="481"/>
                  </a:cubicBezTo>
                  <a:cubicBezTo>
                    <a:pt x="212" y="473"/>
                    <a:pt x="186" y="500"/>
                    <a:pt x="184" y="528"/>
                  </a:cubicBezTo>
                  <a:cubicBezTo>
                    <a:pt x="183" y="535"/>
                    <a:pt x="178" y="541"/>
                    <a:pt x="171" y="546"/>
                  </a:cubicBezTo>
                  <a:cubicBezTo>
                    <a:pt x="146" y="561"/>
                    <a:pt x="105" y="571"/>
                    <a:pt x="100" y="571"/>
                  </a:cubicBezTo>
                  <a:cubicBezTo>
                    <a:pt x="96" y="571"/>
                    <a:pt x="53" y="570"/>
                    <a:pt x="31" y="577"/>
                  </a:cubicBezTo>
                  <a:cubicBezTo>
                    <a:pt x="45" y="577"/>
                    <a:pt x="45" y="577"/>
                    <a:pt x="45" y="577"/>
                  </a:cubicBezTo>
                  <a:cubicBezTo>
                    <a:pt x="20" y="581"/>
                    <a:pt x="0" y="588"/>
                    <a:pt x="21" y="606"/>
                  </a:cubicBezTo>
                  <a:cubicBezTo>
                    <a:pt x="46" y="628"/>
                    <a:pt x="61" y="614"/>
                    <a:pt x="94" y="622"/>
                  </a:cubicBezTo>
                  <a:cubicBezTo>
                    <a:pt x="126" y="631"/>
                    <a:pt x="152" y="692"/>
                    <a:pt x="169" y="700"/>
                  </a:cubicBezTo>
                  <a:cubicBezTo>
                    <a:pt x="182" y="707"/>
                    <a:pt x="199" y="703"/>
                    <a:pt x="212" y="693"/>
                  </a:cubicBezTo>
                  <a:cubicBezTo>
                    <a:pt x="218" y="689"/>
                    <a:pt x="223" y="685"/>
                    <a:pt x="227" y="679"/>
                  </a:cubicBezTo>
                  <a:cubicBezTo>
                    <a:pt x="233" y="670"/>
                    <a:pt x="239" y="650"/>
                    <a:pt x="245" y="632"/>
                  </a:cubicBezTo>
                  <a:cubicBezTo>
                    <a:pt x="239" y="632"/>
                    <a:pt x="239" y="632"/>
                    <a:pt x="239" y="632"/>
                  </a:cubicBezTo>
                  <a:cubicBezTo>
                    <a:pt x="243" y="619"/>
                    <a:pt x="246" y="609"/>
                    <a:pt x="246" y="609"/>
                  </a:cubicBezTo>
                  <a:cubicBezTo>
                    <a:pt x="246" y="609"/>
                    <a:pt x="246" y="664"/>
                    <a:pt x="272" y="675"/>
                  </a:cubicBezTo>
                  <a:cubicBezTo>
                    <a:pt x="297" y="686"/>
                    <a:pt x="362" y="667"/>
                    <a:pt x="379" y="670"/>
                  </a:cubicBezTo>
                  <a:cubicBezTo>
                    <a:pt x="396" y="672"/>
                    <a:pt x="497" y="689"/>
                    <a:pt x="525" y="706"/>
                  </a:cubicBezTo>
                  <a:cubicBezTo>
                    <a:pt x="553" y="722"/>
                    <a:pt x="621" y="733"/>
                    <a:pt x="641" y="769"/>
                  </a:cubicBezTo>
                  <a:cubicBezTo>
                    <a:pt x="660" y="805"/>
                    <a:pt x="662" y="930"/>
                    <a:pt x="673" y="944"/>
                  </a:cubicBezTo>
                  <a:cubicBezTo>
                    <a:pt x="676" y="948"/>
                    <a:pt x="681" y="946"/>
                    <a:pt x="687" y="941"/>
                  </a:cubicBezTo>
                  <a:cubicBezTo>
                    <a:pt x="695" y="938"/>
                    <a:pt x="708" y="922"/>
                    <a:pt x="719" y="907"/>
                  </a:cubicBezTo>
                  <a:cubicBezTo>
                    <a:pt x="715" y="907"/>
                    <a:pt x="715" y="907"/>
                    <a:pt x="715" y="907"/>
                  </a:cubicBezTo>
                  <a:cubicBezTo>
                    <a:pt x="721" y="898"/>
                    <a:pt x="726" y="890"/>
                    <a:pt x="729" y="886"/>
                  </a:cubicBezTo>
                  <a:cubicBezTo>
                    <a:pt x="737" y="872"/>
                    <a:pt x="782" y="880"/>
                    <a:pt x="797" y="900"/>
                  </a:cubicBezTo>
                  <a:cubicBezTo>
                    <a:pt x="812" y="919"/>
                    <a:pt x="847" y="966"/>
                    <a:pt x="845" y="986"/>
                  </a:cubicBezTo>
                  <a:cubicBezTo>
                    <a:pt x="842" y="1005"/>
                    <a:pt x="836" y="1036"/>
                    <a:pt x="823" y="1025"/>
                  </a:cubicBezTo>
                  <a:cubicBezTo>
                    <a:pt x="810" y="1013"/>
                    <a:pt x="789" y="1016"/>
                    <a:pt x="797" y="994"/>
                  </a:cubicBezTo>
                  <a:cubicBezTo>
                    <a:pt x="798" y="993"/>
                    <a:pt x="799" y="991"/>
                    <a:pt x="799" y="989"/>
                  </a:cubicBezTo>
                  <a:cubicBezTo>
                    <a:pt x="804" y="989"/>
                    <a:pt x="804" y="989"/>
                    <a:pt x="804" y="989"/>
                  </a:cubicBezTo>
                  <a:cubicBezTo>
                    <a:pt x="813" y="967"/>
                    <a:pt x="817" y="920"/>
                    <a:pt x="800" y="920"/>
                  </a:cubicBezTo>
                  <a:cubicBezTo>
                    <a:pt x="783" y="920"/>
                    <a:pt x="768" y="920"/>
                    <a:pt x="768" y="920"/>
                  </a:cubicBezTo>
                  <a:cubicBezTo>
                    <a:pt x="768" y="920"/>
                    <a:pt x="749" y="914"/>
                    <a:pt x="731" y="929"/>
                  </a:cubicBezTo>
                  <a:cubicBezTo>
                    <a:pt x="723" y="933"/>
                    <a:pt x="715" y="941"/>
                    <a:pt x="707" y="955"/>
                  </a:cubicBezTo>
                  <a:cubicBezTo>
                    <a:pt x="686" y="997"/>
                    <a:pt x="703" y="1038"/>
                    <a:pt x="718" y="1038"/>
                  </a:cubicBezTo>
                  <a:cubicBezTo>
                    <a:pt x="733" y="1038"/>
                    <a:pt x="767" y="1038"/>
                    <a:pt x="767" y="1049"/>
                  </a:cubicBezTo>
                  <a:cubicBezTo>
                    <a:pt x="767" y="1061"/>
                    <a:pt x="731" y="1094"/>
                    <a:pt x="733" y="1113"/>
                  </a:cubicBezTo>
                  <a:cubicBezTo>
                    <a:pt x="735" y="1133"/>
                    <a:pt x="763" y="1199"/>
                    <a:pt x="772" y="1213"/>
                  </a:cubicBezTo>
                  <a:cubicBezTo>
                    <a:pt x="780" y="1227"/>
                    <a:pt x="825" y="1241"/>
                    <a:pt x="838" y="1244"/>
                  </a:cubicBezTo>
                  <a:cubicBezTo>
                    <a:pt x="839" y="1244"/>
                    <a:pt x="839" y="1244"/>
                    <a:pt x="839" y="1244"/>
                  </a:cubicBezTo>
                  <a:cubicBezTo>
                    <a:pt x="836" y="1246"/>
                    <a:pt x="832" y="1248"/>
                    <a:pt x="829" y="1250"/>
                  </a:cubicBezTo>
                  <a:cubicBezTo>
                    <a:pt x="821" y="1254"/>
                    <a:pt x="814" y="1259"/>
                    <a:pt x="819" y="1269"/>
                  </a:cubicBezTo>
                  <a:cubicBezTo>
                    <a:pt x="830" y="1288"/>
                    <a:pt x="847" y="1335"/>
                    <a:pt x="870" y="1346"/>
                  </a:cubicBezTo>
                  <a:cubicBezTo>
                    <a:pt x="894" y="1357"/>
                    <a:pt x="960" y="1407"/>
                    <a:pt x="969" y="1429"/>
                  </a:cubicBezTo>
                  <a:cubicBezTo>
                    <a:pt x="978" y="1452"/>
                    <a:pt x="1029" y="1413"/>
                    <a:pt x="1040" y="1410"/>
                  </a:cubicBezTo>
                  <a:cubicBezTo>
                    <a:pt x="1051" y="1407"/>
                    <a:pt x="1049" y="1468"/>
                    <a:pt x="1079" y="1471"/>
                  </a:cubicBezTo>
                  <a:cubicBezTo>
                    <a:pt x="1100" y="1473"/>
                    <a:pt x="1111" y="1469"/>
                    <a:pt x="1125" y="1458"/>
                  </a:cubicBezTo>
                  <a:cubicBezTo>
                    <a:pt x="1127" y="1457"/>
                    <a:pt x="1128" y="1457"/>
                    <a:pt x="1129" y="1456"/>
                  </a:cubicBezTo>
                  <a:cubicBezTo>
                    <a:pt x="1129" y="1456"/>
                    <a:pt x="1129" y="1456"/>
                    <a:pt x="1129" y="1456"/>
                  </a:cubicBezTo>
                  <a:cubicBezTo>
                    <a:pt x="1133" y="1452"/>
                    <a:pt x="1139" y="1447"/>
                    <a:pt x="1145" y="1441"/>
                  </a:cubicBezTo>
                  <a:cubicBezTo>
                    <a:pt x="1157" y="1429"/>
                    <a:pt x="1162" y="1415"/>
                    <a:pt x="1164" y="1401"/>
                  </a:cubicBezTo>
                  <a:cubicBezTo>
                    <a:pt x="1170" y="1401"/>
                    <a:pt x="1170" y="1401"/>
                    <a:pt x="1170" y="1401"/>
                  </a:cubicBezTo>
                  <a:cubicBezTo>
                    <a:pt x="1173" y="1384"/>
                    <a:pt x="1172" y="1367"/>
                    <a:pt x="1173" y="1353"/>
                  </a:cubicBezTo>
                  <a:cubicBezTo>
                    <a:pt x="1174" y="1339"/>
                    <a:pt x="1174" y="1326"/>
                    <a:pt x="1179" y="1320"/>
                  </a:cubicBezTo>
                  <a:cubicBezTo>
                    <a:pt x="1183" y="1319"/>
                    <a:pt x="1188" y="1319"/>
                    <a:pt x="1194" y="1321"/>
                  </a:cubicBezTo>
                  <a:cubicBezTo>
                    <a:pt x="1222" y="1329"/>
                    <a:pt x="1237" y="1316"/>
                    <a:pt x="1235" y="1288"/>
                  </a:cubicBezTo>
                  <a:cubicBezTo>
                    <a:pt x="1235" y="1280"/>
                    <a:pt x="1232" y="1272"/>
                    <a:pt x="1230" y="1264"/>
                  </a:cubicBezTo>
                  <a:cubicBezTo>
                    <a:pt x="1238" y="1264"/>
                    <a:pt x="1238" y="1264"/>
                    <a:pt x="1238" y="1264"/>
                  </a:cubicBezTo>
                  <a:cubicBezTo>
                    <a:pt x="1234" y="1248"/>
                    <a:pt x="1230" y="1232"/>
                    <a:pt x="1241" y="1223"/>
                  </a:cubicBezTo>
                  <a:cubicBezTo>
                    <a:pt x="1245" y="1221"/>
                    <a:pt x="1249" y="1220"/>
                    <a:pt x="1255" y="1219"/>
                  </a:cubicBezTo>
                  <a:cubicBezTo>
                    <a:pt x="1277" y="1214"/>
                    <a:pt x="1295" y="1203"/>
                    <a:pt x="1310" y="1193"/>
                  </a:cubicBezTo>
                  <a:cubicBezTo>
                    <a:pt x="1314" y="1190"/>
                    <a:pt x="1318" y="1188"/>
                    <a:pt x="1322" y="1185"/>
                  </a:cubicBezTo>
                  <a:cubicBezTo>
                    <a:pt x="1332" y="1179"/>
                    <a:pt x="1341" y="1174"/>
                    <a:pt x="1351" y="1174"/>
                  </a:cubicBezTo>
                  <a:cubicBezTo>
                    <a:pt x="1379" y="1174"/>
                    <a:pt x="1456" y="1188"/>
                    <a:pt x="1465" y="1174"/>
                  </a:cubicBezTo>
                  <a:cubicBezTo>
                    <a:pt x="1469" y="1168"/>
                    <a:pt x="1479" y="1147"/>
                    <a:pt x="1490" y="1126"/>
                  </a:cubicBezTo>
                  <a:cubicBezTo>
                    <a:pt x="1495" y="1126"/>
                    <a:pt x="1495" y="1126"/>
                    <a:pt x="1495" y="1126"/>
                  </a:cubicBezTo>
                  <a:cubicBezTo>
                    <a:pt x="1505" y="1107"/>
                    <a:pt x="1517" y="1088"/>
                    <a:pt x="1528" y="1077"/>
                  </a:cubicBezTo>
                  <a:cubicBezTo>
                    <a:pt x="1530" y="1076"/>
                    <a:pt x="1532" y="1075"/>
                    <a:pt x="1534" y="1075"/>
                  </a:cubicBezTo>
                  <a:cubicBezTo>
                    <a:pt x="1557" y="1072"/>
                    <a:pt x="1619" y="1086"/>
                    <a:pt x="1675" y="1074"/>
                  </a:cubicBezTo>
                  <a:cubicBezTo>
                    <a:pt x="1731" y="1063"/>
                    <a:pt x="1791" y="1022"/>
                    <a:pt x="1810" y="1025"/>
                  </a:cubicBezTo>
                  <a:cubicBezTo>
                    <a:pt x="1830" y="1027"/>
                    <a:pt x="1877" y="1027"/>
                    <a:pt x="1862" y="1011"/>
                  </a:cubicBezTo>
                  <a:cubicBezTo>
                    <a:pt x="1857" y="1005"/>
                    <a:pt x="1851" y="997"/>
                    <a:pt x="1845" y="989"/>
                  </a:cubicBezTo>
                  <a:cubicBezTo>
                    <a:pt x="1855" y="989"/>
                    <a:pt x="1855" y="989"/>
                    <a:pt x="1855" y="989"/>
                  </a:cubicBezTo>
                  <a:cubicBezTo>
                    <a:pt x="1841" y="972"/>
                    <a:pt x="1823" y="951"/>
                    <a:pt x="1800" y="951"/>
                  </a:cubicBezTo>
                  <a:cubicBezTo>
                    <a:pt x="1783" y="951"/>
                    <a:pt x="1774" y="929"/>
                    <a:pt x="1770" y="907"/>
                  </a:cubicBezTo>
                  <a:cubicBezTo>
                    <a:pt x="1763" y="907"/>
                    <a:pt x="1763" y="907"/>
                    <a:pt x="1763" y="907"/>
                  </a:cubicBezTo>
                  <a:cubicBezTo>
                    <a:pt x="1759" y="888"/>
                    <a:pt x="1760" y="870"/>
                    <a:pt x="1764" y="870"/>
                  </a:cubicBezTo>
                  <a:cubicBezTo>
                    <a:pt x="1773" y="870"/>
                    <a:pt x="1851" y="902"/>
                    <a:pt x="1849" y="930"/>
                  </a:cubicBezTo>
                  <a:cubicBezTo>
                    <a:pt x="1847" y="958"/>
                    <a:pt x="1862" y="994"/>
                    <a:pt x="1905" y="983"/>
                  </a:cubicBezTo>
                  <a:cubicBezTo>
                    <a:pt x="1913" y="981"/>
                    <a:pt x="1918" y="978"/>
                    <a:pt x="1923" y="974"/>
                  </a:cubicBezTo>
                  <a:cubicBezTo>
                    <a:pt x="1953" y="959"/>
                    <a:pt x="1947" y="925"/>
                    <a:pt x="1939" y="915"/>
                  </a:cubicBezTo>
                  <a:cubicBezTo>
                    <a:pt x="1938" y="913"/>
                    <a:pt x="1936" y="910"/>
                    <a:pt x="1935" y="907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3" name="Freeform 57"/>
            <p:cNvSpPr>
              <a:spLocks/>
            </p:cNvSpPr>
            <p:nvPr/>
          </p:nvSpPr>
          <p:spPr bwMode="auto">
            <a:xfrm>
              <a:off x="2665413" y="3705225"/>
              <a:ext cx="49212" cy="50800"/>
            </a:xfrm>
            <a:custGeom>
              <a:avLst/>
              <a:gdLst>
                <a:gd name="T0" fmla="*/ 26 w 87"/>
                <a:gd name="T1" fmla="*/ 13 h 91"/>
                <a:gd name="T2" fmla="*/ 45 w 87"/>
                <a:gd name="T3" fmla="*/ 78 h 91"/>
                <a:gd name="T4" fmla="*/ 57 w 87"/>
                <a:gd name="T5" fmla="*/ 70 h 91"/>
                <a:gd name="T6" fmla="*/ 37 w 87"/>
                <a:gd name="T7" fmla="*/ 6 h 91"/>
                <a:gd name="T8" fmla="*/ 26 w 87"/>
                <a:gd name="T9" fmla="*/ 1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91">
                  <a:moveTo>
                    <a:pt x="26" y="13"/>
                  </a:moveTo>
                  <a:cubicBezTo>
                    <a:pt x="0" y="26"/>
                    <a:pt x="8" y="91"/>
                    <a:pt x="45" y="78"/>
                  </a:cubicBezTo>
                  <a:cubicBezTo>
                    <a:pt x="50" y="76"/>
                    <a:pt x="54" y="74"/>
                    <a:pt x="57" y="70"/>
                  </a:cubicBezTo>
                  <a:cubicBezTo>
                    <a:pt x="87" y="53"/>
                    <a:pt x="67" y="0"/>
                    <a:pt x="37" y="6"/>
                  </a:cubicBezTo>
                  <a:cubicBezTo>
                    <a:pt x="33" y="7"/>
                    <a:pt x="29" y="10"/>
                    <a:pt x="26" y="13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4" name="Freeform 58"/>
            <p:cNvSpPr>
              <a:spLocks/>
            </p:cNvSpPr>
            <p:nvPr/>
          </p:nvSpPr>
          <p:spPr bwMode="auto">
            <a:xfrm>
              <a:off x="7372350" y="3943350"/>
              <a:ext cx="131762" cy="101600"/>
            </a:xfrm>
            <a:custGeom>
              <a:avLst/>
              <a:gdLst>
                <a:gd name="T0" fmla="*/ 232 w 232"/>
                <a:gd name="T1" fmla="*/ 71 h 179"/>
                <a:gd name="T2" fmla="*/ 176 w 232"/>
                <a:gd name="T3" fmla="*/ 0 h 179"/>
                <a:gd name="T4" fmla="*/ 171 w 232"/>
                <a:gd name="T5" fmla="*/ 6 h 179"/>
                <a:gd name="T6" fmla="*/ 169 w 232"/>
                <a:gd name="T7" fmla="*/ 4 h 179"/>
                <a:gd name="T8" fmla="*/ 132 w 232"/>
                <a:gd name="T9" fmla="*/ 54 h 179"/>
                <a:gd name="T10" fmla="*/ 95 w 232"/>
                <a:gd name="T11" fmla="*/ 41 h 179"/>
                <a:gd name="T12" fmla="*/ 45 w 232"/>
                <a:gd name="T13" fmla="*/ 51 h 179"/>
                <a:gd name="T14" fmla="*/ 7 w 232"/>
                <a:gd name="T15" fmla="*/ 104 h 179"/>
                <a:gd name="T16" fmla="*/ 113 w 232"/>
                <a:gd name="T17" fmla="*/ 137 h 179"/>
                <a:gd name="T18" fmla="*/ 166 w 232"/>
                <a:gd name="T19" fmla="*/ 170 h 179"/>
                <a:gd name="T20" fmla="*/ 184 w 232"/>
                <a:gd name="T21" fmla="*/ 162 h 179"/>
                <a:gd name="T22" fmla="*/ 218 w 232"/>
                <a:gd name="T23" fmla="*/ 128 h 179"/>
                <a:gd name="T24" fmla="*/ 214 w 232"/>
                <a:gd name="T25" fmla="*/ 128 h 179"/>
                <a:gd name="T26" fmla="*/ 225 w 232"/>
                <a:gd name="T27" fmla="*/ 75 h 179"/>
                <a:gd name="T28" fmla="*/ 225 w 232"/>
                <a:gd name="T29" fmla="*/ 73 h 179"/>
                <a:gd name="T30" fmla="*/ 232 w 232"/>
                <a:gd name="T31" fmla="*/ 73 h 179"/>
                <a:gd name="T32" fmla="*/ 232 w 232"/>
                <a:gd name="T33" fmla="*/ 71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2" h="179">
                  <a:moveTo>
                    <a:pt x="232" y="71"/>
                  </a:moveTo>
                  <a:cubicBezTo>
                    <a:pt x="221" y="41"/>
                    <a:pt x="176" y="0"/>
                    <a:pt x="176" y="0"/>
                  </a:cubicBezTo>
                  <a:cubicBezTo>
                    <a:pt x="174" y="2"/>
                    <a:pt x="173" y="4"/>
                    <a:pt x="171" y="6"/>
                  </a:cubicBezTo>
                  <a:cubicBezTo>
                    <a:pt x="170" y="5"/>
                    <a:pt x="169" y="4"/>
                    <a:pt x="169" y="4"/>
                  </a:cubicBezTo>
                  <a:cubicBezTo>
                    <a:pt x="151" y="32"/>
                    <a:pt x="140" y="46"/>
                    <a:pt x="132" y="54"/>
                  </a:cubicBezTo>
                  <a:cubicBezTo>
                    <a:pt x="121" y="59"/>
                    <a:pt x="113" y="50"/>
                    <a:pt x="95" y="41"/>
                  </a:cubicBezTo>
                  <a:cubicBezTo>
                    <a:pt x="79" y="34"/>
                    <a:pt x="60" y="40"/>
                    <a:pt x="45" y="51"/>
                  </a:cubicBezTo>
                  <a:cubicBezTo>
                    <a:pt x="20" y="65"/>
                    <a:pt x="0" y="91"/>
                    <a:pt x="7" y="104"/>
                  </a:cubicBezTo>
                  <a:cubicBezTo>
                    <a:pt x="18" y="125"/>
                    <a:pt x="95" y="100"/>
                    <a:pt x="113" y="137"/>
                  </a:cubicBezTo>
                  <a:cubicBezTo>
                    <a:pt x="130" y="175"/>
                    <a:pt x="130" y="179"/>
                    <a:pt x="166" y="170"/>
                  </a:cubicBezTo>
                  <a:cubicBezTo>
                    <a:pt x="172" y="169"/>
                    <a:pt x="178" y="166"/>
                    <a:pt x="184" y="162"/>
                  </a:cubicBezTo>
                  <a:cubicBezTo>
                    <a:pt x="196" y="155"/>
                    <a:pt x="209" y="142"/>
                    <a:pt x="218" y="128"/>
                  </a:cubicBezTo>
                  <a:cubicBezTo>
                    <a:pt x="214" y="128"/>
                    <a:pt x="214" y="128"/>
                    <a:pt x="214" y="128"/>
                  </a:cubicBezTo>
                  <a:cubicBezTo>
                    <a:pt x="225" y="110"/>
                    <a:pt x="230" y="89"/>
                    <a:pt x="225" y="75"/>
                  </a:cubicBezTo>
                  <a:cubicBezTo>
                    <a:pt x="225" y="74"/>
                    <a:pt x="225" y="74"/>
                    <a:pt x="225" y="73"/>
                  </a:cubicBezTo>
                  <a:cubicBezTo>
                    <a:pt x="232" y="73"/>
                    <a:pt x="232" y="73"/>
                    <a:pt x="232" y="73"/>
                  </a:cubicBezTo>
                  <a:cubicBezTo>
                    <a:pt x="232" y="72"/>
                    <a:pt x="232" y="71"/>
                    <a:pt x="232" y="71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5" name="Freeform 59"/>
            <p:cNvSpPr>
              <a:spLocks/>
            </p:cNvSpPr>
            <p:nvPr/>
          </p:nvSpPr>
          <p:spPr bwMode="auto">
            <a:xfrm>
              <a:off x="2765425" y="3648075"/>
              <a:ext cx="136525" cy="77788"/>
            </a:xfrm>
            <a:custGeom>
              <a:avLst/>
              <a:gdLst>
                <a:gd name="T0" fmla="*/ 169 w 239"/>
                <a:gd name="T1" fmla="*/ 8 h 137"/>
                <a:gd name="T2" fmla="*/ 88 w 239"/>
                <a:gd name="T3" fmla="*/ 12 h 137"/>
                <a:gd name="T4" fmla="*/ 72 w 239"/>
                <a:gd name="T5" fmla="*/ 20 h 137"/>
                <a:gd name="T6" fmla="*/ 0 w 239"/>
                <a:gd name="T7" fmla="*/ 83 h 137"/>
                <a:gd name="T8" fmla="*/ 63 w 239"/>
                <a:gd name="T9" fmla="*/ 91 h 137"/>
                <a:gd name="T10" fmla="*/ 123 w 239"/>
                <a:gd name="T11" fmla="*/ 121 h 137"/>
                <a:gd name="T12" fmla="*/ 197 w 239"/>
                <a:gd name="T13" fmla="*/ 104 h 137"/>
                <a:gd name="T14" fmla="*/ 229 w 239"/>
                <a:gd name="T15" fmla="*/ 120 h 137"/>
                <a:gd name="T16" fmla="*/ 239 w 239"/>
                <a:gd name="T17" fmla="*/ 99 h 137"/>
                <a:gd name="T18" fmla="*/ 232 w 239"/>
                <a:gd name="T19" fmla="*/ 99 h 137"/>
                <a:gd name="T20" fmla="*/ 214 w 239"/>
                <a:gd name="T21" fmla="*/ 44 h 137"/>
                <a:gd name="T22" fmla="*/ 224 w 239"/>
                <a:gd name="T23" fmla="*/ 44 h 137"/>
                <a:gd name="T24" fmla="*/ 169 w 239"/>
                <a:gd name="T25" fmla="*/ 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9" h="137">
                  <a:moveTo>
                    <a:pt x="169" y="8"/>
                  </a:moveTo>
                  <a:cubicBezTo>
                    <a:pt x="140" y="0"/>
                    <a:pt x="109" y="8"/>
                    <a:pt x="88" y="12"/>
                  </a:cubicBezTo>
                  <a:cubicBezTo>
                    <a:pt x="84" y="13"/>
                    <a:pt x="78" y="16"/>
                    <a:pt x="72" y="20"/>
                  </a:cubicBezTo>
                  <a:cubicBezTo>
                    <a:pt x="47" y="34"/>
                    <a:pt x="0" y="83"/>
                    <a:pt x="0" y="83"/>
                  </a:cubicBezTo>
                  <a:cubicBezTo>
                    <a:pt x="0" y="83"/>
                    <a:pt x="39" y="91"/>
                    <a:pt x="63" y="91"/>
                  </a:cubicBezTo>
                  <a:cubicBezTo>
                    <a:pt x="88" y="91"/>
                    <a:pt x="102" y="108"/>
                    <a:pt x="123" y="121"/>
                  </a:cubicBezTo>
                  <a:cubicBezTo>
                    <a:pt x="144" y="133"/>
                    <a:pt x="183" y="104"/>
                    <a:pt x="197" y="104"/>
                  </a:cubicBezTo>
                  <a:cubicBezTo>
                    <a:pt x="209" y="104"/>
                    <a:pt x="223" y="137"/>
                    <a:pt x="229" y="120"/>
                  </a:cubicBezTo>
                  <a:cubicBezTo>
                    <a:pt x="234" y="122"/>
                    <a:pt x="237" y="117"/>
                    <a:pt x="239" y="99"/>
                  </a:cubicBezTo>
                  <a:cubicBezTo>
                    <a:pt x="232" y="99"/>
                    <a:pt x="232" y="99"/>
                    <a:pt x="232" y="99"/>
                  </a:cubicBezTo>
                  <a:cubicBezTo>
                    <a:pt x="234" y="76"/>
                    <a:pt x="226" y="58"/>
                    <a:pt x="214" y="44"/>
                  </a:cubicBezTo>
                  <a:cubicBezTo>
                    <a:pt x="224" y="44"/>
                    <a:pt x="224" y="44"/>
                    <a:pt x="224" y="44"/>
                  </a:cubicBezTo>
                  <a:cubicBezTo>
                    <a:pt x="209" y="24"/>
                    <a:pt x="186" y="13"/>
                    <a:pt x="169" y="8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6" name="Freeform 60"/>
            <p:cNvSpPr>
              <a:spLocks/>
            </p:cNvSpPr>
            <p:nvPr/>
          </p:nvSpPr>
          <p:spPr bwMode="auto">
            <a:xfrm>
              <a:off x="7424738" y="4419600"/>
              <a:ext cx="80962" cy="85725"/>
            </a:xfrm>
            <a:custGeom>
              <a:avLst/>
              <a:gdLst>
                <a:gd name="T0" fmla="*/ 72 w 143"/>
                <a:gd name="T1" fmla="*/ 20 h 151"/>
                <a:gd name="T2" fmla="*/ 59 w 143"/>
                <a:gd name="T3" fmla="*/ 30 h 151"/>
                <a:gd name="T4" fmla="*/ 3 w 143"/>
                <a:gd name="T5" fmla="*/ 126 h 151"/>
                <a:gd name="T6" fmla="*/ 49 w 143"/>
                <a:gd name="T7" fmla="*/ 127 h 151"/>
                <a:gd name="T8" fmla="*/ 69 w 143"/>
                <a:gd name="T9" fmla="*/ 113 h 151"/>
                <a:gd name="T10" fmla="*/ 68 w 143"/>
                <a:gd name="T11" fmla="*/ 113 h 151"/>
                <a:gd name="T12" fmla="*/ 81 w 143"/>
                <a:gd name="T13" fmla="*/ 101 h 151"/>
                <a:gd name="T14" fmla="*/ 137 w 143"/>
                <a:gd name="T15" fmla="*/ 64 h 151"/>
                <a:gd name="T16" fmla="*/ 136 w 143"/>
                <a:gd name="T17" fmla="*/ 58 h 151"/>
                <a:gd name="T18" fmla="*/ 143 w 143"/>
                <a:gd name="T19" fmla="*/ 58 h 151"/>
                <a:gd name="T20" fmla="*/ 72 w 143"/>
                <a:gd name="T21" fmla="*/ 2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3" h="151">
                  <a:moveTo>
                    <a:pt x="72" y="20"/>
                  </a:moveTo>
                  <a:cubicBezTo>
                    <a:pt x="67" y="22"/>
                    <a:pt x="63" y="25"/>
                    <a:pt x="59" y="30"/>
                  </a:cubicBezTo>
                  <a:cubicBezTo>
                    <a:pt x="38" y="64"/>
                    <a:pt x="0" y="97"/>
                    <a:pt x="3" y="126"/>
                  </a:cubicBezTo>
                  <a:cubicBezTo>
                    <a:pt x="6" y="151"/>
                    <a:pt x="29" y="141"/>
                    <a:pt x="49" y="127"/>
                  </a:cubicBezTo>
                  <a:cubicBezTo>
                    <a:pt x="56" y="123"/>
                    <a:pt x="63" y="118"/>
                    <a:pt x="69" y="113"/>
                  </a:cubicBezTo>
                  <a:cubicBezTo>
                    <a:pt x="68" y="113"/>
                    <a:pt x="68" y="113"/>
                    <a:pt x="68" y="113"/>
                  </a:cubicBezTo>
                  <a:cubicBezTo>
                    <a:pt x="75" y="106"/>
                    <a:pt x="81" y="101"/>
                    <a:pt x="81" y="101"/>
                  </a:cubicBezTo>
                  <a:cubicBezTo>
                    <a:pt x="81" y="101"/>
                    <a:pt x="137" y="93"/>
                    <a:pt x="137" y="64"/>
                  </a:cubicBezTo>
                  <a:cubicBezTo>
                    <a:pt x="137" y="62"/>
                    <a:pt x="136" y="60"/>
                    <a:pt x="136" y="58"/>
                  </a:cubicBezTo>
                  <a:cubicBezTo>
                    <a:pt x="143" y="58"/>
                    <a:pt x="143" y="58"/>
                    <a:pt x="143" y="58"/>
                  </a:cubicBezTo>
                  <a:cubicBezTo>
                    <a:pt x="141" y="31"/>
                    <a:pt x="96" y="0"/>
                    <a:pt x="72" y="20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7" name="Freeform 61"/>
            <p:cNvSpPr>
              <a:spLocks/>
            </p:cNvSpPr>
            <p:nvPr/>
          </p:nvSpPr>
          <p:spPr bwMode="auto">
            <a:xfrm>
              <a:off x="6738938" y="4052888"/>
              <a:ext cx="292100" cy="338138"/>
            </a:xfrm>
            <a:custGeom>
              <a:avLst/>
              <a:gdLst>
                <a:gd name="T0" fmla="*/ 470 w 515"/>
                <a:gd name="T1" fmla="*/ 567 h 596"/>
                <a:gd name="T2" fmla="*/ 473 w 515"/>
                <a:gd name="T3" fmla="*/ 548 h 596"/>
                <a:gd name="T4" fmla="*/ 478 w 515"/>
                <a:gd name="T5" fmla="*/ 485 h 596"/>
                <a:gd name="T6" fmla="*/ 472 w 515"/>
                <a:gd name="T7" fmla="*/ 485 h 596"/>
                <a:gd name="T8" fmla="*/ 489 w 515"/>
                <a:gd name="T9" fmla="*/ 430 h 596"/>
                <a:gd name="T10" fmla="*/ 494 w 515"/>
                <a:gd name="T11" fmla="*/ 430 h 596"/>
                <a:gd name="T12" fmla="*/ 497 w 515"/>
                <a:gd name="T13" fmla="*/ 423 h 596"/>
                <a:gd name="T14" fmla="*/ 480 w 515"/>
                <a:gd name="T15" fmla="*/ 365 h 596"/>
                <a:gd name="T16" fmla="*/ 448 w 515"/>
                <a:gd name="T17" fmla="*/ 348 h 596"/>
                <a:gd name="T18" fmla="*/ 438 w 515"/>
                <a:gd name="T19" fmla="*/ 348 h 596"/>
                <a:gd name="T20" fmla="*/ 391 w 515"/>
                <a:gd name="T21" fmla="*/ 293 h 596"/>
                <a:gd name="T22" fmla="*/ 402 w 515"/>
                <a:gd name="T23" fmla="*/ 293 h 596"/>
                <a:gd name="T24" fmla="*/ 381 w 515"/>
                <a:gd name="T25" fmla="*/ 274 h 596"/>
                <a:gd name="T26" fmla="*/ 306 w 515"/>
                <a:gd name="T27" fmla="*/ 211 h 596"/>
                <a:gd name="T28" fmla="*/ 295 w 515"/>
                <a:gd name="T29" fmla="*/ 211 h 596"/>
                <a:gd name="T30" fmla="*/ 252 w 515"/>
                <a:gd name="T31" fmla="*/ 162 h 596"/>
                <a:gd name="T32" fmla="*/ 246 w 515"/>
                <a:gd name="T33" fmla="*/ 156 h 596"/>
                <a:gd name="T34" fmla="*/ 257 w 515"/>
                <a:gd name="T35" fmla="*/ 156 h 596"/>
                <a:gd name="T36" fmla="*/ 172 w 515"/>
                <a:gd name="T37" fmla="*/ 73 h 596"/>
                <a:gd name="T38" fmla="*/ 160 w 515"/>
                <a:gd name="T39" fmla="*/ 73 h 596"/>
                <a:gd name="T40" fmla="*/ 128 w 515"/>
                <a:gd name="T41" fmla="*/ 45 h 596"/>
                <a:gd name="T42" fmla="*/ 90 w 515"/>
                <a:gd name="T43" fmla="*/ 18 h 596"/>
                <a:gd name="T44" fmla="*/ 105 w 515"/>
                <a:gd name="T45" fmla="*/ 18 h 596"/>
                <a:gd name="T46" fmla="*/ 47 w 515"/>
                <a:gd name="T47" fmla="*/ 3 h 596"/>
                <a:gd name="T48" fmla="*/ 39 w 515"/>
                <a:gd name="T49" fmla="*/ 8 h 596"/>
                <a:gd name="T50" fmla="*/ 114 w 515"/>
                <a:gd name="T51" fmla="*/ 120 h 596"/>
                <a:gd name="T52" fmla="*/ 220 w 515"/>
                <a:gd name="T53" fmla="*/ 274 h 596"/>
                <a:gd name="T54" fmla="*/ 268 w 515"/>
                <a:gd name="T55" fmla="*/ 479 h 596"/>
                <a:gd name="T56" fmla="*/ 421 w 515"/>
                <a:gd name="T57" fmla="*/ 557 h 596"/>
                <a:gd name="T58" fmla="*/ 465 w 515"/>
                <a:gd name="T59" fmla="*/ 567 h 596"/>
                <a:gd name="T60" fmla="*/ 470 w 515"/>
                <a:gd name="T61" fmla="*/ 567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5" h="596">
                  <a:moveTo>
                    <a:pt x="470" y="567"/>
                  </a:moveTo>
                  <a:cubicBezTo>
                    <a:pt x="472" y="562"/>
                    <a:pt x="473" y="557"/>
                    <a:pt x="473" y="548"/>
                  </a:cubicBezTo>
                  <a:cubicBezTo>
                    <a:pt x="473" y="528"/>
                    <a:pt x="474" y="506"/>
                    <a:pt x="478" y="485"/>
                  </a:cubicBezTo>
                  <a:cubicBezTo>
                    <a:pt x="472" y="485"/>
                    <a:pt x="472" y="485"/>
                    <a:pt x="472" y="485"/>
                  </a:cubicBezTo>
                  <a:cubicBezTo>
                    <a:pt x="475" y="463"/>
                    <a:pt x="481" y="443"/>
                    <a:pt x="489" y="430"/>
                  </a:cubicBezTo>
                  <a:cubicBezTo>
                    <a:pt x="494" y="430"/>
                    <a:pt x="494" y="430"/>
                    <a:pt x="494" y="430"/>
                  </a:cubicBezTo>
                  <a:cubicBezTo>
                    <a:pt x="495" y="428"/>
                    <a:pt x="496" y="425"/>
                    <a:pt x="497" y="423"/>
                  </a:cubicBezTo>
                  <a:cubicBezTo>
                    <a:pt x="515" y="398"/>
                    <a:pt x="508" y="361"/>
                    <a:pt x="480" y="365"/>
                  </a:cubicBezTo>
                  <a:cubicBezTo>
                    <a:pt x="469" y="367"/>
                    <a:pt x="459" y="360"/>
                    <a:pt x="448" y="348"/>
                  </a:cubicBezTo>
                  <a:cubicBezTo>
                    <a:pt x="438" y="348"/>
                    <a:pt x="438" y="348"/>
                    <a:pt x="438" y="348"/>
                  </a:cubicBezTo>
                  <a:cubicBezTo>
                    <a:pt x="425" y="333"/>
                    <a:pt x="410" y="312"/>
                    <a:pt x="391" y="293"/>
                  </a:cubicBezTo>
                  <a:cubicBezTo>
                    <a:pt x="402" y="293"/>
                    <a:pt x="402" y="293"/>
                    <a:pt x="402" y="293"/>
                  </a:cubicBezTo>
                  <a:cubicBezTo>
                    <a:pt x="395" y="286"/>
                    <a:pt x="389" y="280"/>
                    <a:pt x="381" y="274"/>
                  </a:cubicBezTo>
                  <a:cubicBezTo>
                    <a:pt x="354" y="251"/>
                    <a:pt x="330" y="233"/>
                    <a:pt x="306" y="211"/>
                  </a:cubicBezTo>
                  <a:cubicBezTo>
                    <a:pt x="295" y="211"/>
                    <a:pt x="295" y="211"/>
                    <a:pt x="295" y="211"/>
                  </a:cubicBezTo>
                  <a:cubicBezTo>
                    <a:pt x="281" y="197"/>
                    <a:pt x="267" y="181"/>
                    <a:pt x="252" y="162"/>
                  </a:cubicBezTo>
                  <a:cubicBezTo>
                    <a:pt x="250" y="159"/>
                    <a:pt x="248" y="158"/>
                    <a:pt x="246" y="156"/>
                  </a:cubicBezTo>
                  <a:cubicBezTo>
                    <a:pt x="257" y="156"/>
                    <a:pt x="257" y="156"/>
                    <a:pt x="257" y="156"/>
                  </a:cubicBezTo>
                  <a:cubicBezTo>
                    <a:pt x="229" y="121"/>
                    <a:pt x="198" y="95"/>
                    <a:pt x="172" y="73"/>
                  </a:cubicBezTo>
                  <a:cubicBezTo>
                    <a:pt x="160" y="73"/>
                    <a:pt x="160" y="73"/>
                    <a:pt x="160" y="73"/>
                  </a:cubicBezTo>
                  <a:cubicBezTo>
                    <a:pt x="148" y="63"/>
                    <a:pt x="137" y="54"/>
                    <a:pt x="128" y="45"/>
                  </a:cubicBezTo>
                  <a:cubicBezTo>
                    <a:pt x="117" y="33"/>
                    <a:pt x="103" y="25"/>
                    <a:pt x="90" y="18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82" y="6"/>
                    <a:pt x="59" y="0"/>
                    <a:pt x="47" y="3"/>
                  </a:cubicBezTo>
                  <a:cubicBezTo>
                    <a:pt x="43" y="4"/>
                    <a:pt x="40" y="6"/>
                    <a:pt x="39" y="8"/>
                  </a:cubicBezTo>
                  <a:cubicBezTo>
                    <a:pt x="0" y="21"/>
                    <a:pt x="104" y="108"/>
                    <a:pt x="114" y="120"/>
                  </a:cubicBezTo>
                  <a:cubicBezTo>
                    <a:pt x="125" y="132"/>
                    <a:pt x="220" y="228"/>
                    <a:pt x="220" y="274"/>
                  </a:cubicBezTo>
                  <a:cubicBezTo>
                    <a:pt x="220" y="320"/>
                    <a:pt x="250" y="462"/>
                    <a:pt x="268" y="479"/>
                  </a:cubicBezTo>
                  <a:cubicBezTo>
                    <a:pt x="286" y="495"/>
                    <a:pt x="406" y="523"/>
                    <a:pt x="421" y="557"/>
                  </a:cubicBezTo>
                  <a:cubicBezTo>
                    <a:pt x="433" y="586"/>
                    <a:pt x="458" y="596"/>
                    <a:pt x="465" y="567"/>
                  </a:cubicBezTo>
                  <a:lnTo>
                    <a:pt x="470" y="567"/>
                  </a:ln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8" name="Freeform 62"/>
            <p:cNvSpPr>
              <a:spLocks/>
            </p:cNvSpPr>
            <p:nvPr/>
          </p:nvSpPr>
          <p:spPr bwMode="auto">
            <a:xfrm>
              <a:off x="7335838" y="4170363"/>
              <a:ext cx="131762" cy="41275"/>
            </a:xfrm>
            <a:custGeom>
              <a:avLst/>
              <a:gdLst>
                <a:gd name="T0" fmla="*/ 232 w 232"/>
                <a:gd name="T1" fmla="*/ 4 h 75"/>
                <a:gd name="T2" fmla="*/ 225 w 232"/>
                <a:gd name="T3" fmla="*/ 4 h 75"/>
                <a:gd name="T4" fmla="*/ 221 w 232"/>
                <a:gd name="T5" fmla="*/ 0 h 75"/>
                <a:gd name="T6" fmla="*/ 197 w 232"/>
                <a:gd name="T7" fmla="*/ 4 h 75"/>
                <a:gd name="T8" fmla="*/ 181 w 232"/>
                <a:gd name="T9" fmla="*/ 4 h 75"/>
                <a:gd name="T10" fmla="*/ 105 w 232"/>
                <a:gd name="T11" fmla="*/ 21 h 75"/>
                <a:gd name="T12" fmla="*/ 31 w 232"/>
                <a:gd name="T13" fmla="*/ 13 h 75"/>
                <a:gd name="T14" fmla="*/ 28 w 232"/>
                <a:gd name="T15" fmla="*/ 17 h 75"/>
                <a:gd name="T16" fmla="*/ 24 w 232"/>
                <a:gd name="T17" fmla="*/ 17 h 75"/>
                <a:gd name="T18" fmla="*/ 56 w 232"/>
                <a:gd name="T19" fmla="*/ 71 h 75"/>
                <a:gd name="T20" fmla="*/ 193 w 232"/>
                <a:gd name="T21" fmla="*/ 54 h 75"/>
                <a:gd name="T22" fmla="*/ 203 w 232"/>
                <a:gd name="T23" fmla="*/ 49 h 75"/>
                <a:gd name="T24" fmla="*/ 232 w 232"/>
                <a:gd name="T25" fmla="*/ 4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" h="75">
                  <a:moveTo>
                    <a:pt x="232" y="4"/>
                  </a:moveTo>
                  <a:cubicBezTo>
                    <a:pt x="225" y="4"/>
                    <a:pt x="225" y="4"/>
                    <a:pt x="225" y="4"/>
                  </a:cubicBezTo>
                  <a:cubicBezTo>
                    <a:pt x="225" y="2"/>
                    <a:pt x="224" y="0"/>
                    <a:pt x="221" y="0"/>
                  </a:cubicBezTo>
                  <a:cubicBezTo>
                    <a:pt x="218" y="0"/>
                    <a:pt x="209" y="2"/>
                    <a:pt x="197" y="4"/>
                  </a:cubicBezTo>
                  <a:cubicBezTo>
                    <a:pt x="181" y="4"/>
                    <a:pt x="181" y="4"/>
                    <a:pt x="181" y="4"/>
                  </a:cubicBezTo>
                  <a:cubicBezTo>
                    <a:pt x="149" y="10"/>
                    <a:pt x="111" y="18"/>
                    <a:pt x="105" y="21"/>
                  </a:cubicBezTo>
                  <a:cubicBezTo>
                    <a:pt x="94" y="25"/>
                    <a:pt x="31" y="13"/>
                    <a:pt x="31" y="13"/>
                  </a:cubicBezTo>
                  <a:cubicBezTo>
                    <a:pt x="29" y="14"/>
                    <a:pt x="29" y="16"/>
                    <a:pt x="28" y="17"/>
                  </a:cubicBezTo>
                  <a:cubicBezTo>
                    <a:pt x="26" y="17"/>
                    <a:pt x="24" y="17"/>
                    <a:pt x="24" y="17"/>
                  </a:cubicBezTo>
                  <a:cubicBezTo>
                    <a:pt x="0" y="46"/>
                    <a:pt x="17" y="75"/>
                    <a:pt x="56" y="71"/>
                  </a:cubicBezTo>
                  <a:cubicBezTo>
                    <a:pt x="95" y="67"/>
                    <a:pt x="176" y="54"/>
                    <a:pt x="193" y="54"/>
                  </a:cubicBezTo>
                  <a:cubicBezTo>
                    <a:pt x="197" y="54"/>
                    <a:pt x="200" y="52"/>
                    <a:pt x="203" y="49"/>
                  </a:cubicBezTo>
                  <a:cubicBezTo>
                    <a:pt x="216" y="44"/>
                    <a:pt x="231" y="17"/>
                    <a:pt x="232" y="4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9" name="Freeform 63"/>
            <p:cNvSpPr>
              <a:spLocks/>
            </p:cNvSpPr>
            <p:nvPr/>
          </p:nvSpPr>
          <p:spPr bwMode="auto">
            <a:xfrm>
              <a:off x="7329488" y="3509963"/>
              <a:ext cx="60325" cy="82550"/>
            </a:xfrm>
            <a:custGeom>
              <a:avLst/>
              <a:gdLst>
                <a:gd name="T0" fmla="*/ 89 w 106"/>
                <a:gd name="T1" fmla="*/ 2 h 147"/>
                <a:gd name="T2" fmla="*/ 73 w 106"/>
                <a:gd name="T3" fmla="*/ 9 h 147"/>
                <a:gd name="T4" fmla="*/ 40 w 106"/>
                <a:gd name="T5" fmla="*/ 143 h 147"/>
                <a:gd name="T6" fmla="*/ 55 w 106"/>
                <a:gd name="T7" fmla="*/ 136 h 147"/>
                <a:gd name="T8" fmla="*/ 100 w 106"/>
                <a:gd name="T9" fmla="*/ 68 h 147"/>
                <a:gd name="T10" fmla="*/ 95 w 106"/>
                <a:gd name="T11" fmla="*/ 68 h 147"/>
                <a:gd name="T12" fmla="*/ 97 w 106"/>
                <a:gd name="T13" fmla="*/ 13 h 147"/>
                <a:gd name="T14" fmla="*/ 106 w 106"/>
                <a:gd name="T15" fmla="*/ 13 h 147"/>
                <a:gd name="T16" fmla="*/ 89 w 106"/>
                <a:gd name="T17" fmla="*/ 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6" h="147">
                  <a:moveTo>
                    <a:pt x="89" y="2"/>
                  </a:moveTo>
                  <a:cubicBezTo>
                    <a:pt x="83" y="2"/>
                    <a:pt x="78" y="5"/>
                    <a:pt x="73" y="9"/>
                  </a:cubicBezTo>
                  <a:cubicBezTo>
                    <a:pt x="26" y="30"/>
                    <a:pt x="0" y="147"/>
                    <a:pt x="40" y="143"/>
                  </a:cubicBezTo>
                  <a:cubicBezTo>
                    <a:pt x="45" y="143"/>
                    <a:pt x="50" y="140"/>
                    <a:pt x="55" y="136"/>
                  </a:cubicBezTo>
                  <a:cubicBezTo>
                    <a:pt x="73" y="127"/>
                    <a:pt x="90" y="97"/>
                    <a:pt x="100" y="68"/>
                  </a:cubicBezTo>
                  <a:cubicBezTo>
                    <a:pt x="95" y="68"/>
                    <a:pt x="95" y="68"/>
                    <a:pt x="95" y="68"/>
                  </a:cubicBezTo>
                  <a:cubicBezTo>
                    <a:pt x="101" y="45"/>
                    <a:pt x="103" y="24"/>
                    <a:pt x="97" y="13"/>
                  </a:cubicBezTo>
                  <a:cubicBezTo>
                    <a:pt x="106" y="13"/>
                    <a:pt x="106" y="13"/>
                    <a:pt x="106" y="13"/>
                  </a:cubicBezTo>
                  <a:cubicBezTo>
                    <a:pt x="103" y="5"/>
                    <a:pt x="98" y="0"/>
                    <a:pt x="89" y="2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0" name="Freeform 64"/>
            <p:cNvSpPr>
              <a:spLocks/>
            </p:cNvSpPr>
            <p:nvPr/>
          </p:nvSpPr>
          <p:spPr bwMode="auto">
            <a:xfrm>
              <a:off x="6823075" y="3930650"/>
              <a:ext cx="161925" cy="257175"/>
            </a:xfrm>
            <a:custGeom>
              <a:avLst/>
              <a:gdLst>
                <a:gd name="T0" fmla="*/ 116 w 284"/>
                <a:gd name="T1" fmla="*/ 92 h 452"/>
                <a:gd name="T2" fmla="*/ 51 w 284"/>
                <a:gd name="T3" fmla="*/ 12 h 452"/>
                <a:gd name="T4" fmla="*/ 40 w 284"/>
                <a:gd name="T5" fmla="*/ 12 h 452"/>
                <a:gd name="T6" fmla="*/ 29 w 284"/>
                <a:gd name="T7" fmla="*/ 0 h 452"/>
                <a:gd name="T8" fmla="*/ 14 w 284"/>
                <a:gd name="T9" fmla="*/ 88 h 452"/>
                <a:gd name="T10" fmla="*/ 74 w 284"/>
                <a:gd name="T11" fmla="*/ 171 h 452"/>
                <a:gd name="T12" fmla="*/ 141 w 284"/>
                <a:gd name="T13" fmla="*/ 350 h 452"/>
                <a:gd name="T14" fmla="*/ 236 w 284"/>
                <a:gd name="T15" fmla="*/ 441 h 452"/>
                <a:gd name="T16" fmla="*/ 269 w 284"/>
                <a:gd name="T17" fmla="*/ 441 h 452"/>
                <a:gd name="T18" fmla="*/ 284 w 284"/>
                <a:gd name="T19" fmla="*/ 424 h 452"/>
                <a:gd name="T20" fmla="*/ 278 w 284"/>
                <a:gd name="T21" fmla="*/ 424 h 452"/>
                <a:gd name="T22" fmla="*/ 275 w 284"/>
                <a:gd name="T23" fmla="*/ 408 h 452"/>
                <a:gd name="T24" fmla="*/ 251 w 284"/>
                <a:gd name="T25" fmla="*/ 369 h 452"/>
                <a:gd name="T26" fmla="*/ 261 w 284"/>
                <a:gd name="T27" fmla="*/ 369 h 452"/>
                <a:gd name="T28" fmla="*/ 236 w 284"/>
                <a:gd name="T29" fmla="*/ 312 h 452"/>
                <a:gd name="T30" fmla="*/ 230 w 284"/>
                <a:gd name="T31" fmla="*/ 286 h 452"/>
                <a:gd name="T32" fmla="*/ 222 w 284"/>
                <a:gd name="T33" fmla="*/ 286 h 452"/>
                <a:gd name="T34" fmla="*/ 201 w 284"/>
                <a:gd name="T35" fmla="*/ 231 h 452"/>
                <a:gd name="T36" fmla="*/ 209 w 284"/>
                <a:gd name="T37" fmla="*/ 231 h 452"/>
                <a:gd name="T38" fmla="*/ 187 w 284"/>
                <a:gd name="T39" fmla="*/ 187 h 452"/>
                <a:gd name="T40" fmla="*/ 161 w 284"/>
                <a:gd name="T41" fmla="*/ 149 h 452"/>
                <a:gd name="T42" fmla="*/ 151 w 284"/>
                <a:gd name="T43" fmla="*/ 149 h 452"/>
                <a:gd name="T44" fmla="*/ 110 w 284"/>
                <a:gd name="T45" fmla="*/ 96 h 452"/>
                <a:gd name="T46" fmla="*/ 109 w 284"/>
                <a:gd name="T47" fmla="*/ 94 h 452"/>
                <a:gd name="T48" fmla="*/ 118 w 284"/>
                <a:gd name="T49" fmla="*/ 94 h 452"/>
                <a:gd name="T50" fmla="*/ 116 w 284"/>
                <a:gd name="T51" fmla="*/ 92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84" h="452">
                  <a:moveTo>
                    <a:pt x="116" y="92"/>
                  </a:moveTo>
                  <a:cubicBezTo>
                    <a:pt x="104" y="69"/>
                    <a:pt x="71" y="33"/>
                    <a:pt x="51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33" y="5"/>
                    <a:pt x="29" y="0"/>
                    <a:pt x="29" y="0"/>
                  </a:cubicBezTo>
                  <a:cubicBezTo>
                    <a:pt x="0" y="4"/>
                    <a:pt x="0" y="67"/>
                    <a:pt x="14" y="88"/>
                  </a:cubicBezTo>
                  <a:cubicBezTo>
                    <a:pt x="29" y="108"/>
                    <a:pt x="57" y="96"/>
                    <a:pt x="74" y="171"/>
                  </a:cubicBezTo>
                  <a:cubicBezTo>
                    <a:pt x="92" y="246"/>
                    <a:pt x="127" y="320"/>
                    <a:pt x="141" y="350"/>
                  </a:cubicBezTo>
                  <a:cubicBezTo>
                    <a:pt x="155" y="379"/>
                    <a:pt x="215" y="420"/>
                    <a:pt x="236" y="441"/>
                  </a:cubicBezTo>
                  <a:cubicBezTo>
                    <a:pt x="247" y="452"/>
                    <a:pt x="260" y="449"/>
                    <a:pt x="269" y="441"/>
                  </a:cubicBezTo>
                  <a:cubicBezTo>
                    <a:pt x="276" y="438"/>
                    <a:pt x="282" y="431"/>
                    <a:pt x="284" y="424"/>
                  </a:cubicBezTo>
                  <a:cubicBezTo>
                    <a:pt x="278" y="424"/>
                    <a:pt x="278" y="424"/>
                    <a:pt x="278" y="424"/>
                  </a:cubicBezTo>
                  <a:cubicBezTo>
                    <a:pt x="279" y="418"/>
                    <a:pt x="278" y="413"/>
                    <a:pt x="275" y="408"/>
                  </a:cubicBezTo>
                  <a:cubicBezTo>
                    <a:pt x="269" y="397"/>
                    <a:pt x="260" y="383"/>
                    <a:pt x="251" y="369"/>
                  </a:cubicBezTo>
                  <a:cubicBezTo>
                    <a:pt x="261" y="369"/>
                    <a:pt x="261" y="369"/>
                    <a:pt x="261" y="369"/>
                  </a:cubicBezTo>
                  <a:cubicBezTo>
                    <a:pt x="249" y="350"/>
                    <a:pt x="238" y="329"/>
                    <a:pt x="236" y="312"/>
                  </a:cubicBezTo>
                  <a:cubicBezTo>
                    <a:pt x="235" y="304"/>
                    <a:pt x="233" y="296"/>
                    <a:pt x="230" y="286"/>
                  </a:cubicBezTo>
                  <a:cubicBezTo>
                    <a:pt x="222" y="286"/>
                    <a:pt x="222" y="286"/>
                    <a:pt x="222" y="286"/>
                  </a:cubicBezTo>
                  <a:cubicBezTo>
                    <a:pt x="217" y="270"/>
                    <a:pt x="210" y="252"/>
                    <a:pt x="201" y="231"/>
                  </a:cubicBezTo>
                  <a:cubicBezTo>
                    <a:pt x="209" y="231"/>
                    <a:pt x="209" y="231"/>
                    <a:pt x="209" y="231"/>
                  </a:cubicBezTo>
                  <a:cubicBezTo>
                    <a:pt x="202" y="217"/>
                    <a:pt x="195" y="203"/>
                    <a:pt x="187" y="187"/>
                  </a:cubicBezTo>
                  <a:cubicBezTo>
                    <a:pt x="178" y="171"/>
                    <a:pt x="169" y="159"/>
                    <a:pt x="161" y="149"/>
                  </a:cubicBezTo>
                  <a:cubicBezTo>
                    <a:pt x="151" y="149"/>
                    <a:pt x="151" y="149"/>
                    <a:pt x="151" y="149"/>
                  </a:cubicBezTo>
                  <a:cubicBezTo>
                    <a:pt x="135" y="130"/>
                    <a:pt x="121" y="117"/>
                    <a:pt x="110" y="96"/>
                  </a:cubicBezTo>
                  <a:cubicBezTo>
                    <a:pt x="109" y="95"/>
                    <a:pt x="109" y="95"/>
                    <a:pt x="109" y="94"/>
                  </a:cubicBezTo>
                  <a:cubicBezTo>
                    <a:pt x="118" y="94"/>
                    <a:pt x="118" y="94"/>
                    <a:pt x="118" y="94"/>
                  </a:cubicBezTo>
                  <a:cubicBezTo>
                    <a:pt x="117" y="93"/>
                    <a:pt x="117" y="93"/>
                    <a:pt x="116" y="92"/>
                  </a:cubicBezTo>
                  <a:close/>
                </a:path>
              </a:pathLst>
            </a:custGeom>
            <a:pattFill prst="wdUpDiag">
              <a:fgClr>
                <a:schemeClr val="bg1">
                  <a:lumMod val="7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51" name="TextBox 150"/>
          <p:cNvSpPr txBox="1"/>
          <p:nvPr/>
        </p:nvSpPr>
        <p:spPr>
          <a:xfrm>
            <a:off x="1095759" y="1232031"/>
            <a:ext cx="1006005" cy="584776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algn="ctr"/>
            <a:r>
              <a:rPr lang="en-US" sz="3200" b="1" cap="all" dirty="0">
                <a:latin typeface="+mj-lt"/>
              </a:rPr>
              <a:t>12%</a:t>
            </a:r>
          </a:p>
        </p:txBody>
      </p:sp>
      <p:cxnSp>
        <p:nvCxnSpPr>
          <p:cNvPr id="152" name="Straight Connector 151"/>
          <p:cNvCxnSpPr/>
          <p:nvPr/>
        </p:nvCxnSpPr>
        <p:spPr>
          <a:xfrm flipV="1">
            <a:off x="1598752" y="1816809"/>
            <a:ext cx="0" cy="315119"/>
          </a:xfrm>
          <a:prstGeom prst="line">
            <a:avLst/>
          </a:prstGeom>
          <a:pattFill prst="wdUpDiag">
            <a:fgClr>
              <a:schemeClr val="accent1"/>
            </a:fgClr>
            <a:bgClr>
              <a:srgbClr val="EFDA84"/>
            </a:bgClr>
          </a:pattFill>
          <a:ln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3" name="Oval 152"/>
          <p:cNvSpPr/>
          <p:nvPr/>
        </p:nvSpPr>
        <p:spPr>
          <a:xfrm>
            <a:off x="1474927" y="2131924"/>
            <a:ext cx="247650" cy="24765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154" name="Group 153"/>
          <p:cNvGrpSpPr/>
          <p:nvPr/>
        </p:nvGrpSpPr>
        <p:grpSpPr>
          <a:xfrm>
            <a:off x="584200" y="4590293"/>
            <a:ext cx="5598552" cy="270011"/>
            <a:chOff x="776568" y="5937388"/>
            <a:chExt cx="5598552" cy="270011"/>
          </a:xfrm>
        </p:grpSpPr>
        <p:grpSp>
          <p:nvGrpSpPr>
            <p:cNvPr id="155" name="Group 154"/>
            <p:cNvGrpSpPr/>
            <p:nvPr/>
          </p:nvGrpSpPr>
          <p:grpSpPr>
            <a:xfrm>
              <a:off x="776568" y="5937388"/>
              <a:ext cx="1803120" cy="270011"/>
              <a:chOff x="776568" y="5937388"/>
              <a:chExt cx="1803120" cy="270011"/>
            </a:xfrm>
          </p:grpSpPr>
          <p:sp>
            <p:nvSpPr>
              <p:cNvPr id="162" name="Oval 161"/>
              <p:cNvSpPr/>
              <p:nvPr/>
            </p:nvSpPr>
            <p:spPr>
              <a:xfrm>
                <a:off x="776568" y="5937388"/>
                <a:ext cx="219074" cy="219074"/>
              </a:xfrm>
              <a:prstGeom prst="ellipse">
                <a:avLst/>
              </a:prstGeom>
              <a:solidFill>
                <a:schemeClr val="accent5"/>
              </a:solidFill>
              <a:ln/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63" name="TextBox 162"/>
              <p:cNvSpPr txBox="1"/>
              <p:nvPr/>
            </p:nvSpPr>
            <p:spPr>
              <a:xfrm>
                <a:off x="1010224" y="5953483"/>
                <a:ext cx="1569464" cy="253916"/>
              </a:xfrm>
              <a:prstGeom prst="rect">
                <a:avLst/>
              </a:prstGeom>
              <a:noFill/>
            </p:spPr>
            <p:txBody>
              <a:bodyPr wrap="square" rtlCol="0" anchor="b" anchorCtr="0">
                <a:spAutoFit/>
              </a:bodyPr>
              <a:lstStyle>
                <a:defPPr>
                  <a:defRPr lang="en-US"/>
                </a:defPPr>
                <a:lvl1pPr>
                  <a:lnSpc>
                    <a:spcPct val="70000"/>
                  </a:lnSpc>
                  <a:defRPr sz="5400" b="1">
                    <a:solidFill>
                      <a:srgbClr val="414042"/>
                    </a:solidFill>
                    <a:latin typeface="HelveticaNeueLT Std" pitchFamily="34" charset="0"/>
                  </a:defRPr>
                </a:lvl1pPr>
              </a:lstStyle>
              <a:p>
                <a:r>
                  <a:rPr lang="en-US" sz="1400" dirty="0">
                    <a:solidFill>
                      <a:schemeClr val="tx1"/>
                    </a:solidFill>
                    <a:latin typeface="+mn-lt"/>
                  </a:rPr>
                  <a:t>DATA CALLOUT</a:t>
                </a:r>
                <a:endParaRPr lang="en-US" sz="1400" b="0" dirty="0">
                  <a:solidFill>
                    <a:schemeClr val="tx1"/>
                  </a:solidFill>
                  <a:latin typeface="+mn-lt"/>
                </a:endParaRPr>
              </a:p>
            </p:txBody>
          </p:sp>
        </p:grpSp>
        <p:grpSp>
          <p:nvGrpSpPr>
            <p:cNvPr id="156" name="Group 155"/>
            <p:cNvGrpSpPr/>
            <p:nvPr/>
          </p:nvGrpSpPr>
          <p:grpSpPr>
            <a:xfrm>
              <a:off x="2661944" y="5937388"/>
              <a:ext cx="1803120" cy="270011"/>
              <a:chOff x="2661944" y="5937388"/>
              <a:chExt cx="1803120" cy="270011"/>
            </a:xfrm>
          </p:grpSpPr>
          <p:sp>
            <p:nvSpPr>
              <p:cNvPr id="160" name="Oval 159"/>
              <p:cNvSpPr/>
              <p:nvPr/>
            </p:nvSpPr>
            <p:spPr>
              <a:xfrm>
                <a:off x="2661944" y="5937388"/>
                <a:ext cx="219074" cy="219074"/>
              </a:xfrm>
              <a:prstGeom prst="ellipse">
                <a:avLst/>
              </a:prstGeom>
              <a:solidFill>
                <a:schemeClr val="accent4"/>
              </a:solidFill>
              <a:ln/>
              <a:effectLst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61" name="TextBox 160"/>
              <p:cNvSpPr txBox="1"/>
              <p:nvPr/>
            </p:nvSpPr>
            <p:spPr>
              <a:xfrm>
                <a:off x="2895600" y="5953483"/>
                <a:ext cx="1569464" cy="253916"/>
              </a:xfrm>
              <a:prstGeom prst="rect">
                <a:avLst/>
              </a:prstGeom>
              <a:noFill/>
            </p:spPr>
            <p:txBody>
              <a:bodyPr wrap="square" rtlCol="0" anchor="b" anchorCtr="0">
                <a:spAutoFit/>
              </a:bodyPr>
              <a:lstStyle>
                <a:defPPr>
                  <a:defRPr lang="en-US"/>
                </a:defPPr>
                <a:lvl1pPr>
                  <a:lnSpc>
                    <a:spcPct val="70000"/>
                  </a:lnSpc>
                  <a:defRPr sz="5400" b="1">
                    <a:solidFill>
                      <a:srgbClr val="414042"/>
                    </a:solidFill>
                    <a:latin typeface="HelveticaNeueLT Std" pitchFamily="34" charset="0"/>
                  </a:defRPr>
                </a:lvl1pPr>
              </a:lstStyle>
              <a:p>
                <a:r>
                  <a:rPr lang="en-US" sz="1400" dirty="0">
                    <a:solidFill>
                      <a:schemeClr val="tx1"/>
                    </a:solidFill>
                    <a:latin typeface="+mn-lt"/>
                  </a:rPr>
                  <a:t>DATA CALLOUT</a:t>
                </a:r>
              </a:p>
            </p:txBody>
          </p:sp>
        </p:grpSp>
        <p:grpSp>
          <p:nvGrpSpPr>
            <p:cNvPr id="157" name="Group 156"/>
            <p:cNvGrpSpPr/>
            <p:nvPr/>
          </p:nvGrpSpPr>
          <p:grpSpPr>
            <a:xfrm>
              <a:off x="4572000" y="5937388"/>
              <a:ext cx="1803120" cy="270011"/>
              <a:chOff x="2661944" y="5937388"/>
              <a:chExt cx="1803120" cy="270011"/>
            </a:xfrm>
          </p:grpSpPr>
          <p:sp>
            <p:nvSpPr>
              <p:cNvPr id="158" name="Oval 157"/>
              <p:cNvSpPr/>
              <p:nvPr/>
            </p:nvSpPr>
            <p:spPr>
              <a:xfrm>
                <a:off x="2661944" y="5937388"/>
                <a:ext cx="219074" cy="219074"/>
              </a:xfrm>
              <a:prstGeom prst="ellipse">
                <a:avLst/>
              </a:prstGeom>
              <a:solidFill>
                <a:schemeClr val="tx1"/>
              </a:solidFill>
              <a:ln/>
              <a:effec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59" name="TextBox 158"/>
              <p:cNvSpPr txBox="1"/>
              <p:nvPr/>
            </p:nvSpPr>
            <p:spPr>
              <a:xfrm>
                <a:off x="2895600" y="5953483"/>
                <a:ext cx="1569464" cy="253916"/>
              </a:xfrm>
              <a:prstGeom prst="rect">
                <a:avLst/>
              </a:prstGeom>
              <a:noFill/>
            </p:spPr>
            <p:txBody>
              <a:bodyPr wrap="square" rtlCol="0" anchor="b" anchorCtr="0">
                <a:spAutoFit/>
              </a:bodyPr>
              <a:lstStyle>
                <a:defPPr>
                  <a:defRPr lang="en-US"/>
                </a:defPPr>
                <a:lvl1pPr>
                  <a:lnSpc>
                    <a:spcPct val="70000"/>
                  </a:lnSpc>
                  <a:defRPr sz="5400" b="1">
                    <a:solidFill>
                      <a:srgbClr val="414042"/>
                    </a:solidFill>
                    <a:latin typeface="HelveticaNeueLT Std" pitchFamily="34" charset="0"/>
                  </a:defRPr>
                </a:lvl1pPr>
              </a:lstStyle>
              <a:p>
                <a:r>
                  <a:rPr lang="en-US" sz="1400" dirty="0">
                    <a:solidFill>
                      <a:schemeClr val="tx1"/>
                    </a:solidFill>
                    <a:latin typeface="+mn-lt"/>
                  </a:rPr>
                  <a:t>DATA CALLOUT</a:t>
                </a:r>
              </a:p>
            </p:txBody>
          </p:sp>
        </p:grpSp>
      </p:grpSp>
      <p:sp>
        <p:nvSpPr>
          <p:cNvPr id="164" name="TextBox 163"/>
          <p:cNvSpPr txBox="1"/>
          <p:nvPr/>
        </p:nvSpPr>
        <p:spPr>
          <a:xfrm>
            <a:off x="3832149" y="1797754"/>
            <a:ext cx="1006005" cy="584776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algn="ctr"/>
            <a:r>
              <a:rPr lang="en-US" sz="3200" b="1" cap="all" dirty="0">
                <a:latin typeface="+mj-lt"/>
              </a:rPr>
              <a:t>28%</a:t>
            </a:r>
          </a:p>
        </p:txBody>
      </p:sp>
      <p:cxnSp>
        <p:nvCxnSpPr>
          <p:cNvPr id="165" name="Straight Connector 164"/>
          <p:cNvCxnSpPr>
            <a:stCxn id="168" idx="0"/>
          </p:cNvCxnSpPr>
          <p:nvPr/>
        </p:nvCxnSpPr>
        <p:spPr>
          <a:xfrm flipV="1">
            <a:off x="4335144" y="2382530"/>
            <a:ext cx="0" cy="329625"/>
          </a:xfrm>
          <a:prstGeom prst="line">
            <a:avLst/>
          </a:prstGeom>
          <a:pattFill prst="wdUpDiag">
            <a:fgClr>
              <a:schemeClr val="accent1"/>
            </a:fgClr>
            <a:bgClr>
              <a:srgbClr val="EFDA84"/>
            </a:bgClr>
          </a:pattFill>
          <a:ln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66" name="TextBox 165"/>
          <p:cNvSpPr txBox="1"/>
          <p:nvPr/>
        </p:nvSpPr>
        <p:spPr>
          <a:xfrm>
            <a:off x="6250230" y="908181"/>
            <a:ext cx="1006005" cy="584776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algn="ctr"/>
            <a:r>
              <a:rPr lang="en-US" sz="3200" b="1" cap="all" dirty="0">
                <a:latin typeface="+mj-lt"/>
              </a:rPr>
              <a:t>45%</a:t>
            </a:r>
          </a:p>
        </p:txBody>
      </p:sp>
      <p:cxnSp>
        <p:nvCxnSpPr>
          <p:cNvPr id="167" name="Straight Connector 166"/>
          <p:cNvCxnSpPr/>
          <p:nvPr/>
        </p:nvCxnSpPr>
        <p:spPr>
          <a:xfrm flipV="1">
            <a:off x="6753225" y="1492959"/>
            <a:ext cx="0" cy="315119"/>
          </a:xfrm>
          <a:prstGeom prst="line">
            <a:avLst/>
          </a:prstGeom>
          <a:pattFill prst="wdUpDiag">
            <a:fgClr>
              <a:schemeClr val="accent1"/>
            </a:fgClr>
            <a:bgClr>
              <a:srgbClr val="EFDA84"/>
            </a:bgClr>
          </a:pattFill>
          <a:ln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68" name="Oval 167"/>
          <p:cNvSpPr/>
          <p:nvPr/>
        </p:nvSpPr>
        <p:spPr>
          <a:xfrm>
            <a:off x="3992244" y="2712155"/>
            <a:ext cx="685800" cy="6858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9" name="Oval 168"/>
          <p:cNvSpPr/>
          <p:nvPr/>
        </p:nvSpPr>
        <p:spPr>
          <a:xfrm>
            <a:off x="6096000" y="1797755"/>
            <a:ext cx="1314450" cy="1314450"/>
          </a:xfrm>
          <a:prstGeom prst="ellipse">
            <a:avLst/>
          </a:prstGeom>
          <a:solidFill>
            <a:schemeClr val="tx1"/>
          </a:solidFill>
          <a:ln/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0811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se diagrams with text on on their own to communicate abstract ideas</a:t>
            </a:r>
          </a:p>
          <a:p>
            <a:r>
              <a:rPr lang="en-US" dirty="0"/>
              <a:t>Download examples of diagrams from the Templates section of the </a:t>
            </a:r>
            <a:r>
              <a:rPr lang="en-US" dirty="0">
                <a:solidFill>
                  <a:srgbClr val="00C8DC"/>
                </a:solidFill>
                <a:hlinkClick r:id="rId3"/>
              </a:rPr>
              <a:t>Brand Portal</a:t>
            </a:r>
            <a:endParaRPr lang="en-US" dirty="0">
              <a:solidFill>
                <a:srgbClr val="00C8DC"/>
              </a:solidFill>
            </a:endParaRPr>
          </a:p>
          <a:p>
            <a:pPr lvl="1"/>
            <a:r>
              <a:rPr lang="en-US" dirty="0"/>
              <a:t>View in slideshow mode to activate link</a:t>
            </a:r>
          </a:p>
        </p:txBody>
      </p:sp>
      <p:sp>
        <p:nvSpPr>
          <p:cNvPr id="48143" name="Rectangle 4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dirty="0">
                <a:ea typeface="+mj-ea"/>
                <a:cs typeface="+mj-cs"/>
              </a:rPr>
              <a:t>Diagram Slide </a:t>
            </a:r>
            <a:r>
              <a:rPr lang="en-US" dirty="0"/>
              <a:t>E</a:t>
            </a:r>
            <a:r>
              <a:rPr lang="en-US" dirty="0">
                <a:ea typeface="+mj-ea"/>
                <a:cs typeface="+mj-cs"/>
              </a:rPr>
              <a:t>xample</a:t>
            </a:r>
          </a:p>
        </p:txBody>
      </p:sp>
      <p:sp>
        <p:nvSpPr>
          <p:cNvPr id="41" name="Freeform 40"/>
          <p:cNvSpPr>
            <a:spLocks noChangeArrowheads="1"/>
          </p:cNvSpPr>
          <p:nvPr/>
        </p:nvSpPr>
        <p:spPr bwMode="auto">
          <a:xfrm>
            <a:off x="4981256" y="3368671"/>
            <a:ext cx="1584776" cy="1443032"/>
          </a:xfrm>
          <a:custGeom>
            <a:avLst/>
            <a:gdLst>
              <a:gd name="T0" fmla="*/ 7099 w 7100"/>
              <a:gd name="T1" fmla="*/ 1730 h 6464"/>
              <a:gd name="T2" fmla="*/ 7099 w 7100"/>
              <a:gd name="T3" fmla="*/ 6463 h 6464"/>
              <a:gd name="T4" fmla="*/ 6441 w 7100"/>
              <a:gd name="T5" fmla="*/ 6427 h 6464"/>
              <a:gd name="T6" fmla="*/ 6376 w 7100"/>
              <a:gd name="T7" fmla="*/ 6421 h 6464"/>
              <a:gd name="T8" fmla="*/ 3074 w 7100"/>
              <a:gd name="T9" fmla="*/ 5368 h 6464"/>
              <a:gd name="T10" fmla="*/ 2998 w 7100"/>
              <a:gd name="T11" fmla="*/ 5324 h 6464"/>
              <a:gd name="T12" fmla="*/ 2224 w 7100"/>
              <a:gd name="T13" fmla="*/ 4814 h 6464"/>
              <a:gd name="T14" fmla="*/ 468 w 7100"/>
              <a:gd name="T15" fmla="*/ 3062 h 6464"/>
              <a:gd name="T16" fmla="*/ 464 w 7100"/>
              <a:gd name="T17" fmla="*/ 3056 h 6464"/>
              <a:gd name="T18" fmla="*/ 414 w 7100"/>
              <a:gd name="T19" fmla="*/ 2989 h 6464"/>
              <a:gd name="T20" fmla="*/ 386 w 7100"/>
              <a:gd name="T21" fmla="*/ 2951 h 6464"/>
              <a:gd name="T22" fmla="*/ 0 w 7100"/>
              <a:gd name="T23" fmla="*/ 2366 h 6464"/>
              <a:gd name="T24" fmla="*/ 0 w 7100"/>
              <a:gd name="T25" fmla="*/ 2366 h 6464"/>
              <a:gd name="T26" fmla="*/ 4099 w 7100"/>
              <a:gd name="T27" fmla="*/ 0 h 6464"/>
              <a:gd name="T28" fmla="*/ 7099 w 7100"/>
              <a:gd name="T29" fmla="*/ 1730 h 6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7100" h="6464">
                <a:moveTo>
                  <a:pt x="7099" y="1730"/>
                </a:moveTo>
                <a:lnTo>
                  <a:pt x="7099" y="6463"/>
                </a:lnTo>
                <a:cubicBezTo>
                  <a:pt x="6877" y="6459"/>
                  <a:pt x="6657" y="6448"/>
                  <a:pt x="6441" y="6427"/>
                </a:cubicBezTo>
                <a:cubicBezTo>
                  <a:pt x="6420" y="6425"/>
                  <a:pt x="6397" y="6423"/>
                  <a:pt x="6376" y="6421"/>
                </a:cubicBezTo>
                <a:cubicBezTo>
                  <a:pt x="5184" y="6301"/>
                  <a:pt x="4066" y="5932"/>
                  <a:pt x="3074" y="5368"/>
                </a:cubicBezTo>
                <a:cubicBezTo>
                  <a:pt x="3048" y="5353"/>
                  <a:pt x="3023" y="5339"/>
                  <a:pt x="2998" y="5324"/>
                </a:cubicBezTo>
                <a:cubicBezTo>
                  <a:pt x="2730" y="5169"/>
                  <a:pt x="2472" y="4997"/>
                  <a:pt x="2224" y="4814"/>
                </a:cubicBezTo>
                <a:cubicBezTo>
                  <a:pt x="1557" y="4319"/>
                  <a:pt x="963" y="3730"/>
                  <a:pt x="468" y="3062"/>
                </a:cubicBezTo>
                <a:cubicBezTo>
                  <a:pt x="466" y="3060"/>
                  <a:pt x="466" y="3058"/>
                  <a:pt x="464" y="3056"/>
                </a:cubicBezTo>
                <a:cubicBezTo>
                  <a:pt x="447" y="3033"/>
                  <a:pt x="430" y="3010"/>
                  <a:pt x="414" y="2989"/>
                </a:cubicBezTo>
                <a:cubicBezTo>
                  <a:pt x="405" y="2976"/>
                  <a:pt x="395" y="2964"/>
                  <a:pt x="386" y="2951"/>
                </a:cubicBezTo>
                <a:cubicBezTo>
                  <a:pt x="250" y="2762"/>
                  <a:pt x="122" y="2567"/>
                  <a:pt x="0" y="2366"/>
                </a:cubicBezTo>
                <a:lnTo>
                  <a:pt x="0" y="2366"/>
                </a:lnTo>
                <a:lnTo>
                  <a:pt x="4099" y="0"/>
                </a:lnTo>
                <a:lnTo>
                  <a:pt x="7099" y="1730"/>
                </a:ln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2" name="Freeform 41"/>
          <p:cNvSpPr>
            <a:spLocks noChangeArrowheads="1"/>
          </p:cNvSpPr>
          <p:nvPr/>
        </p:nvSpPr>
        <p:spPr bwMode="auto">
          <a:xfrm>
            <a:off x="4714502" y="2015212"/>
            <a:ext cx="1151670" cy="1829876"/>
          </a:xfrm>
          <a:custGeom>
            <a:avLst/>
            <a:gdLst>
              <a:gd name="T0" fmla="*/ 5160 w 5161"/>
              <a:gd name="T1" fmla="*/ 2366 h 8198"/>
              <a:gd name="T2" fmla="*/ 5160 w 5161"/>
              <a:gd name="T3" fmla="*/ 5829 h 8198"/>
              <a:gd name="T4" fmla="*/ 5043 w 5161"/>
              <a:gd name="T5" fmla="*/ 5896 h 8198"/>
              <a:gd name="T6" fmla="*/ 1061 w 5161"/>
              <a:gd name="T7" fmla="*/ 8197 h 8198"/>
              <a:gd name="T8" fmla="*/ 44 w 5161"/>
              <a:gd name="T9" fmla="*/ 4971 h 8198"/>
              <a:gd name="T10" fmla="*/ 39 w 5161"/>
              <a:gd name="T11" fmla="*/ 4925 h 8198"/>
              <a:gd name="T12" fmla="*/ 33 w 5161"/>
              <a:gd name="T13" fmla="*/ 4858 h 8198"/>
              <a:gd name="T14" fmla="*/ 0 w 5161"/>
              <a:gd name="T15" fmla="*/ 4099 h 8198"/>
              <a:gd name="T16" fmla="*/ 232 w 5161"/>
              <a:gd name="T17" fmla="*/ 2121 h 8198"/>
              <a:gd name="T18" fmla="*/ 253 w 5161"/>
              <a:gd name="T19" fmla="*/ 2039 h 8198"/>
              <a:gd name="T20" fmla="*/ 274 w 5161"/>
              <a:gd name="T21" fmla="*/ 1957 h 8198"/>
              <a:gd name="T22" fmla="*/ 295 w 5161"/>
              <a:gd name="T23" fmla="*/ 1884 h 8198"/>
              <a:gd name="T24" fmla="*/ 312 w 5161"/>
              <a:gd name="T25" fmla="*/ 1819 h 8198"/>
              <a:gd name="T26" fmla="*/ 444 w 5161"/>
              <a:gd name="T27" fmla="*/ 1389 h 8198"/>
              <a:gd name="T28" fmla="*/ 1061 w 5161"/>
              <a:gd name="T29" fmla="*/ 0 h 8198"/>
              <a:gd name="T30" fmla="*/ 1063 w 5161"/>
              <a:gd name="T31" fmla="*/ 0 h 8198"/>
              <a:gd name="T32" fmla="*/ 5160 w 5161"/>
              <a:gd name="T33" fmla="*/ 2366 h 8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161" h="8198">
                <a:moveTo>
                  <a:pt x="5160" y="2366"/>
                </a:moveTo>
                <a:lnTo>
                  <a:pt x="5160" y="5829"/>
                </a:lnTo>
                <a:lnTo>
                  <a:pt x="5043" y="5896"/>
                </a:lnTo>
                <a:lnTo>
                  <a:pt x="1061" y="8197"/>
                </a:lnTo>
                <a:cubicBezTo>
                  <a:pt x="518" y="7224"/>
                  <a:pt x="163" y="6133"/>
                  <a:pt x="44" y="4971"/>
                </a:cubicBezTo>
                <a:cubicBezTo>
                  <a:pt x="42" y="4956"/>
                  <a:pt x="39" y="4941"/>
                  <a:pt x="39" y="4925"/>
                </a:cubicBezTo>
                <a:cubicBezTo>
                  <a:pt x="37" y="4902"/>
                  <a:pt x="35" y="4878"/>
                  <a:pt x="33" y="4858"/>
                </a:cubicBezTo>
                <a:cubicBezTo>
                  <a:pt x="10" y="4608"/>
                  <a:pt x="0" y="4355"/>
                  <a:pt x="0" y="4099"/>
                </a:cubicBezTo>
                <a:cubicBezTo>
                  <a:pt x="0" y="3417"/>
                  <a:pt x="79" y="2754"/>
                  <a:pt x="232" y="2121"/>
                </a:cubicBezTo>
                <a:cubicBezTo>
                  <a:pt x="239" y="2094"/>
                  <a:pt x="245" y="2066"/>
                  <a:pt x="253" y="2039"/>
                </a:cubicBezTo>
                <a:cubicBezTo>
                  <a:pt x="260" y="2012"/>
                  <a:pt x="266" y="1985"/>
                  <a:pt x="274" y="1957"/>
                </a:cubicBezTo>
                <a:cubicBezTo>
                  <a:pt x="281" y="1932"/>
                  <a:pt x="287" y="1907"/>
                  <a:pt x="295" y="1884"/>
                </a:cubicBezTo>
                <a:cubicBezTo>
                  <a:pt x="302" y="1863"/>
                  <a:pt x="308" y="1842"/>
                  <a:pt x="312" y="1819"/>
                </a:cubicBezTo>
                <a:cubicBezTo>
                  <a:pt x="352" y="1674"/>
                  <a:pt x="396" y="1531"/>
                  <a:pt x="444" y="1389"/>
                </a:cubicBezTo>
                <a:cubicBezTo>
                  <a:pt x="608" y="904"/>
                  <a:pt x="816" y="441"/>
                  <a:pt x="1061" y="0"/>
                </a:cubicBezTo>
                <a:lnTo>
                  <a:pt x="1063" y="0"/>
                </a:lnTo>
                <a:lnTo>
                  <a:pt x="5160" y="2366"/>
                </a:ln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3" name="Freeform 42"/>
          <p:cNvSpPr>
            <a:spLocks noChangeArrowheads="1"/>
          </p:cNvSpPr>
          <p:nvPr/>
        </p:nvSpPr>
        <p:spPr bwMode="auto">
          <a:xfrm>
            <a:off x="6626077" y="3368671"/>
            <a:ext cx="1584776" cy="1443032"/>
          </a:xfrm>
          <a:custGeom>
            <a:avLst/>
            <a:gdLst>
              <a:gd name="T0" fmla="*/ 7063 w 7098"/>
              <a:gd name="T1" fmla="*/ 2423 h 6464"/>
              <a:gd name="T2" fmla="*/ 6965 w 7098"/>
              <a:gd name="T3" fmla="*/ 2582 h 6464"/>
              <a:gd name="T4" fmla="*/ 6923 w 7098"/>
              <a:gd name="T5" fmla="*/ 2647 h 6464"/>
              <a:gd name="T6" fmla="*/ 6858 w 7098"/>
              <a:gd name="T7" fmla="*/ 2746 h 6464"/>
              <a:gd name="T8" fmla="*/ 6738 w 7098"/>
              <a:gd name="T9" fmla="*/ 2918 h 6464"/>
              <a:gd name="T10" fmla="*/ 6646 w 7098"/>
              <a:gd name="T11" fmla="*/ 3044 h 6464"/>
              <a:gd name="T12" fmla="*/ 6499 w 7098"/>
              <a:gd name="T13" fmla="*/ 3234 h 6464"/>
              <a:gd name="T14" fmla="*/ 6428 w 7098"/>
              <a:gd name="T15" fmla="*/ 3323 h 6464"/>
              <a:gd name="T16" fmla="*/ 6295 w 7098"/>
              <a:gd name="T17" fmla="*/ 3484 h 6464"/>
              <a:gd name="T18" fmla="*/ 6161 w 7098"/>
              <a:gd name="T19" fmla="*/ 3637 h 6464"/>
              <a:gd name="T20" fmla="*/ 5962 w 7098"/>
              <a:gd name="T21" fmla="*/ 3853 h 6464"/>
              <a:gd name="T22" fmla="*/ 5890 w 7098"/>
              <a:gd name="T23" fmla="*/ 3927 h 6464"/>
              <a:gd name="T24" fmla="*/ 5752 w 7098"/>
              <a:gd name="T25" fmla="*/ 4065 h 6464"/>
              <a:gd name="T26" fmla="*/ 5700 w 7098"/>
              <a:gd name="T27" fmla="*/ 4116 h 6464"/>
              <a:gd name="T28" fmla="*/ 5580 w 7098"/>
              <a:gd name="T29" fmla="*/ 4229 h 6464"/>
              <a:gd name="T30" fmla="*/ 5110 w 7098"/>
              <a:gd name="T31" fmla="*/ 4632 h 6464"/>
              <a:gd name="T32" fmla="*/ 4900 w 7098"/>
              <a:gd name="T33" fmla="*/ 4793 h 6464"/>
              <a:gd name="T34" fmla="*/ 4873 w 7098"/>
              <a:gd name="T35" fmla="*/ 4814 h 6464"/>
              <a:gd name="T36" fmla="*/ 4850 w 7098"/>
              <a:gd name="T37" fmla="*/ 4833 h 6464"/>
              <a:gd name="T38" fmla="*/ 4674 w 7098"/>
              <a:gd name="T39" fmla="*/ 4959 h 6464"/>
              <a:gd name="T40" fmla="*/ 4334 w 7098"/>
              <a:gd name="T41" fmla="*/ 5183 h 6464"/>
              <a:gd name="T42" fmla="*/ 4225 w 7098"/>
              <a:gd name="T43" fmla="*/ 5250 h 6464"/>
              <a:gd name="T44" fmla="*/ 4038 w 7098"/>
              <a:gd name="T45" fmla="*/ 5360 h 6464"/>
              <a:gd name="T46" fmla="*/ 3730 w 7098"/>
              <a:gd name="T47" fmla="*/ 5529 h 6464"/>
              <a:gd name="T48" fmla="*/ 3551 w 7098"/>
              <a:gd name="T49" fmla="*/ 5620 h 6464"/>
              <a:gd name="T50" fmla="*/ 3430 w 7098"/>
              <a:gd name="T51" fmla="*/ 5676 h 6464"/>
              <a:gd name="T52" fmla="*/ 3247 w 7098"/>
              <a:gd name="T53" fmla="*/ 5758 h 6464"/>
              <a:gd name="T54" fmla="*/ 3063 w 7098"/>
              <a:gd name="T55" fmla="*/ 5838 h 6464"/>
              <a:gd name="T56" fmla="*/ 2937 w 7098"/>
              <a:gd name="T57" fmla="*/ 5888 h 6464"/>
              <a:gd name="T58" fmla="*/ 2811 w 7098"/>
              <a:gd name="T59" fmla="*/ 5934 h 6464"/>
              <a:gd name="T60" fmla="*/ 2559 w 7098"/>
              <a:gd name="T61" fmla="*/ 6025 h 6464"/>
              <a:gd name="T62" fmla="*/ 2433 w 7098"/>
              <a:gd name="T63" fmla="*/ 6066 h 6464"/>
              <a:gd name="T64" fmla="*/ 973 w 7098"/>
              <a:gd name="T65" fmla="*/ 6392 h 6464"/>
              <a:gd name="T66" fmla="*/ 629 w 7098"/>
              <a:gd name="T67" fmla="*/ 6429 h 6464"/>
              <a:gd name="T68" fmla="*/ 212 w 7098"/>
              <a:gd name="T69" fmla="*/ 6457 h 6464"/>
              <a:gd name="T70" fmla="*/ 0 w 7098"/>
              <a:gd name="T71" fmla="*/ 1730 h 6464"/>
              <a:gd name="T72" fmla="*/ 7097 w 7098"/>
              <a:gd name="T73" fmla="*/ 2366 h 6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7098" h="6464">
                <a:moveTo>
                  <a:pt x="7097" y="2366"/>
                </a:moveTo>
                <a:cubicBezTo>
                  <a:pt x="7086" y="2385"/>
                  <a:pt x="7074" y="2404"/>
                  <a:pt x="7063" y="2423"/>
                </a:cubicBezTo>
                <a:cubicBezTo>
                  <a:pt x="7053" y="2441"/>
                  <a:pt x="7040" y="2460"/>
                  <a:pt x="7030" y="2479"/>
                </a:cubicBezTo>
                <a:cubicBezTo>
                  <a:pt x="7009" y="2515"/>
                  <a:pt x="6986" y="2548"/>
                  <a:pt x="6965" y="2582"/>
                </a:cubicBezTo>
                <a:cubicBezTo>
                  <a:pt x="6960" y="2588"/>
                  <a:pt x="6958" y="2593"/>
                  <a:pt x="6954" y="2599"/>
                </a:cubicBezTo>
                <a:cubicBezTo>
                  <a:pt x="6944" y="2614"/>
                  <a:pt x="6933" y="2630"/>
                  <a:pt x="6923" y="2647"/>
                </a:cubicBezTo>
                <a:cubicBezTo>
                  <a:pt x="6910" y="2666"/>
                  <a:pt x="6897" y="2683"/>
                  <a:pt x="6887" y="2702"/>
                </a:cubicBezTo>
                <a:cubicBezTo>
                  <a:pt x="6876" y="2716"/>
                  <a:pt x="6868" y="2731"/>
                  <a:pt x="6858" y="2746"/>
                </a:cubicBezTo>
                <a:cubicBezTo>
                  <a:pt x="6828" y="2790"/>
                  <a:pt x="6799" y="2832"/>
                  <a:pt x="6769" y="2874"/>
                </a:cubicBezTo>
                <a:cubicBezTo>
                  <a:pt x="6759" y="2888"/>
                  <a:pt x="6748" y="2903"/>
                  <a:pt x="6738" y="2918"/>
                </a:cubicBezTo>
                <a:cubicBezTo>
                  <a:pt x="6719" y="2945"/>
                  <a:pt x="6700" y="2970"/>
                  <a:pt x="6681" y="2995"/>
                </a:cubicBezTo>
                <a:cubicBezTo>
                  <a:pt x="6669" y="3012"/>
                  <a:pt x="6658" y="3027"/>
                  <a:pt x="6646" y="3044"/>
                </a:cubicBezTo>
                <a:cubicBezTo>
                  <a:pt x="6606" y="3096"/>
                  <a:pt x="6566" y="3148"/>
                  <a:pt x="6526" y="3201"/>
                </a:cubicBezTo>
                <a:cubicBezTo>
                  <a:pt x="6518" y="3211"/>
                  <a:pt x="6509" y="3224"/>
                  <a:pt x="6499" y="3234"/>
                </a:cubicBezTo>
                <a:cubicBezTo>
                  <a:pt x="6484" y="3253"/>
                  <a:pt x="6469" y="3272"/>
                  <a:pt x="6455" y="3289"/>
                </a:cubicBezTo>
                <a:cubicBezTo>
                  <a:pt x="6446" y="3299"/>
                  <a:pt x="6436" y="3312"/>
                  <a:pt x="6428" y="3323"/>
                </a:cubicBezTo>
                <a:cubicBezTo>
                  <a:pt x="6396" y="3360"/>
                  <a:pt x="6365" y="3400"/>
                  <a:pt x="6333" y="3438"/>
                </a:cubicBezTo>
                <a:cubicBezTo>
                  <a:pt x="6321" y="3453"/>
                  <a:pt x="6308" y="3469"/>
                  <a:pt x="6295" y="3484"/>
                </a:cubicBezTo>
                <a:cubicBezTo>
                  <a:pt x="6262" y="3524"/>
                  <a:pt x="6228" y="3564"/>
                  <a:pt x="6193" y="3602"/>
                </a:cubicBezTo>
                <a:cubicBezTo>
                  <a:pt x="6182" y="3614"/>
                  <a:pt x="6172" y="3625"/>
                  <a:pt x="6161" y="3637"/>
                </a:cubicBezTo>
                <a:cubicBezTo>
                  <a:pt x="6117" y="3688"/>
                  <a:pt x="6071" y="3736"/>
                  <a:pt x="6025" y="3786"/>
                </a:cubicBezTo>
                <a:cubicBezTo>
                  <a:pt x="6004" y="3809"/>
                  <a:pt x="5983" y="3830"/>
                  <a:pt x="5962" y="3853"/>
                </a:cubicBezTo>
                <a:cubicBezTo>
                  <a:pt x="5939" y="3878"/>
                  <a:pt x="5914" y="3904"/>
                  <a:pt x="5890" y="3927"/>
                </a:cubicBezTo>
                <a:lnTo>
                  <a:pt x="5890" y="3927"/>
                </a:lnTo>
                <a:cubicBezTo>
                  <a:pt x="5870" y="3948"/>
                  <a:pt x="5846" y="3971"/>
                  <a:pt x="5825" y="3992"/>
                </a:cubicBezTo>
                <a:cubicBezTo>
                  <a:pt x="5800" y="4017"/>
                  <a:pt x="5777" y="4040"/>
                  <a:pt x="5752" y="4065"/>
                </a:cubicBezTo>
                <a:cubicBezTo>
                  <a:pt x="5739" y="4078"/>
                  <a:pt x="5727" y="4090"/>
                  <a:pt x="5714" y="4103"/>
                </a:cubicBezTo>
                <a:cubicBezTo>
                  <a:pt x="5710" y="4107"/>
                  <a:pt x="5706" y="4111"/>
                  <a:pt x="5700" y="4116"/>
                </a:cubicBezTo>
                <a:cubicBezTo>
                  <a:pt x="5670" y="4145"/>
                  <a:pt x="5639" y="4172"/>
                  <a:pt x="5609" y="4202"/>
                </a:cubicBezTo>
                <a:cubicBezTo>
                  <a:pt x="5601" y="4210"/>
                  <a:pt x="5591" y="4220"/>
                  <a:pt x="5580" y="4229"/>
                </a:cubicBezTo>
                <a:cubicBezTo>
                  <a:pt x="5565" y="4243"/>
                  <a:pt x="5549" y="4258"/>
                  <a:pt x="5534" y="4271"/>
                </a:cubicBezTo>
                <a:cubicBezTo>
                  <a:pt x="5398" y="4395"/>
                  <a:pt x="5257" y="4516"/>
                  <a:pt x="5110" y="4632"/>
                </a:cubicBezTo>
                <a:cubicBezTo>
                  <a:pt x="5077" y="4659"/>
                  <a:pt x="5043" y="4686"/>
                  <a:pt x="5007" y="4711"/>
                </a:cubicBezTo>
                <a:cubicBezTo>
                  <a:pt x="4972" y="4739"/>
                  <a:pt x="4936" y="4766"/>
                  <a:pt x="4900" y="4793"/>
                </a:cubicBezTo>
                <a:cubicBezTo>
                  <a:pt x="4892" y="4799"/>
                  <a:pt x="4881" y="4808"/>
                  <a:pt x="4873" y="4814"/>
                </a:cubicBezTo>
                <a:lnTo>
                  <a:pt x="4873" y="4814"/>
                </a:lnTo>
                <a:cubicBezTo>
                  <a:pt x="4865" y="4820"/>
                  <a:pt x="4858" y="4825"/>
                  <a:pt x="4850" y="4831"/>
                </a:cubicBezTo>
                <a:cubicBezTo>
                  <a:pt x="4850" y="4831"/>
                  <a:pt x="4850" y="4831"/>
                  <a:pt x="4850" y="4833"/>
                </a:cubicBezTo>
                <a:cubicBezTo>
                  <a:pt x="4833" y="4846"/>
                  <a:pt x="4814" y="4858"/>
                  <a:pt x="4798" y="4871"/>
                </a:cubicBezTo>
                <a:cubicBezTo>
                  <a:pt x="4756" y="4900"/>
                  <a:pt x="4716" y="4929"/>
                  <a:pt x="4674" y="4959"/>
                </a:cubicBezTo>
                <a:cubicBezTo>
                  <a:pt x="4655" y="4971"/>
                  <a:pt x="4638" y="4984"/>
                  <a:pt x="4619" y="4997"/>
                </a:cubicBezTo>
                <a:cubicBezTo>
                  <a:pt x="4525" y="5062"/>
                  <a:pt x="4430" y="5125"/>
                  <a:pt x="4334" y="5183"/>
                </a:cubicBezTo>
                <a:cubicBezTo>
                  <a:pt x="4317" y="5194"/>
                  <a:pt x="4298" y="5206"/>
                  <a:pt x="4281" y="5217"/>
                </a:cubicBezTo>
                <a:cubicBezTo>
                  <a:pt x="4263" y="5227"/>
                  <a:pt x="4244" y="5240"/>
                  <a:pt x="4225" y="5250"/>
                </a:cubicBezTo>
                <a:cubicBezTo>
                  <a:pt x="4177" y="5280"/>
                  <a:pt x="4128" y="5309"/>
                  <a:pt x="4078" y="5336"/>
                </a:cubicBezTo>
                <a:cubicBezTo>
                  <a:pt x="4065" y="5345"/>
                  <a:pt x="4053" y="5351"/>
                  <a:pt x="4038" y="5360"/>
                </a:cubicBezTo>
                <a:cubicBezTo>
                  <a:pt x="3956" y="5406"/>
                  <a:pt x="3874" y="5452"/>
                  <a:pt x="3793" y="5496"/>
                </a:cubicBezTo>
                <a:cubicBezTo>
                  <a:pt x="3772" y="5506"/>
                  <a:pt x="3751" y="5519"/>
                  <a:pt x="3730" y="5529"/>
                </a:cubicBezTo>
                <a:cubicBezTo>
                  <a:pt x="3690" y="5550"/>
                  <a:pt x="3650" y="5569"/>
                  <a:pt x="3610" y="5590"/>
                </a:cubicBezTo>
                <a:cubicBezTo>
                  <a:pt x="3591" y="5601"/>
                  <a:pt x="3572" y="5610"/>
                  <a:pt x="3551" y="5620"/>
                </a:cubicBezTo>
                <a:cubicBezTo>
                  <a:pt x="3530" y="5631"/>
                  <a:pt x="3512" y="5639"/>
                  <a:pt x="3491" y="5649"/>
                </a:cubicBezTo>
                <a:cubicBezTo>
                  <a:pt x="3470" y="5657"/>
                  <a:pt x="3451" y="5668"/>
                  <a:pt x="3430" y="5676"/>
                </a:cubicBezTo>
                <a:cubicBezTo>
                  <a:pt x="3390" y="5695"/>
                  <a:pt x="3350" y="5714"/>
                  <a:pt x="3308" y="5731"/>
                </a:cubicBezTo>
                <a:cubicBezTo>
                  <a:pt x="3287" y="5739"/>
                  <a:pt x="3268" y="5750"/>
                  <a:pt x="3247" y="5758"/>
                </a:cubicBezTo>
                <a:cubicBezTo>
                  <a:pt x="3226" y="5767"/>
                  <a:pt x="3207" y="5775"/>
                  <a:pt x="3186" y="5785"/>
                </a:cubicBezTo>
                <a:cubicBezTo>
                  <a:pt x="3147" y="5802"/>
                  <a:pt x="3105" y="5821"/>
                  <a:pt x="3063" y="5838"/>
                </a:cubicBezTo>
                <a:cubicBezTo>
                  <a:pt x="3042" y="5846"/>
                  <a:pt x="3021" y="5855"/>
                  <a:pt x="3000" y="5863"/>
                </a:cubicBezTo>
                <a:cubicBezTo>
                  <a:pt x="2979" y="5871"/>
                  <a:pt x="2958" y="5880"/>
                  <a:pt x="2937" y="5888"/>
                </a:cubicBezTo>
                <a:cubicBezTo>
                  <a:pt x="2916" y="5897"/>
                  <a:pt x="2895" y="5905"/>
                  <a:pt x="2874" y="5911"/>
                </a:cubicBezTo>
                <a:cubicBezTo>
                  <a:pt x="2853" y="5920"/>
                  <a:pt x="2832" y="5928"/>
                  <a:pt x="2811" y="5934"/>
                </a:cubicBezTo>
                <a:cubicBezTo>
                  <a:pt x="2748" y="5957"/>
                  <a:pt x="2685" y="5980"/>
                  <a:pt x="2622" y="6004"/>
                </a:cubicBezTo>
                <a:cubicBezTo>
                  <a:pt x="2601" y="6010"/>
                  <a:pt x="2580" y="6019"/>
                  <a:pt x="2559" y="6025"/>
                </a:cubicBezTo>
                <a:cubicBezTo>
                  <a:pt x="2538" y="6032"/>
                  <a:pt x="2517" y="6040"/>
                  <a:pt x="2496" y="6046"/>
                </a:cubicBezTo>
                <a:cubicBezTo>
                  <a:pt x="2475" y="6053"/>
                  <a:pt x="2454" y="6060"/>
                  <a:pt x="2433" y="6066"/>
                </a:cubicBezTo>
                <a:cubicBezTo>
                  <a:pt x="2347" y="6094"/>
                  <a:pt x="2261" y="6119"/>
                  <a:pt x="2175" y="6144"/>
                </a:cubicBezTo>
                <a:cubicBezTo>
                  <a:pt x="1785" y="6255"/>
                  <a:pt x="1384" y="6339"/>
                  <a:pt x="973" y="6392"/>
                </a:cubicBezTo>
                <a:cubicBezTo>
                  <a:pt x="881" y="6404"/>
                  <a:pt x="791" y="6415"/>
                  <a:pt x="698" y="6423"/>
                </a:cubicBezTo>
                <a:cubicBezTo>
                  <a:pt x="675" y="6425"/>
                  <a:pt x="652" y="6427"/>
                  <a:pt x="629" y="6429"/>
                </a:cubicBezTo>
                <a:cubicBezTo>
                  <a:pt x="514" y="6440"/>
                  <a:pt x="398" y="6448"/>
                  <a:pt x="281" y="6455"/>
                </a:cubicBezTo>
                <a:cubicBezTo>
                  <a:pt x="258" y="6457"/>
                  <a:pt x="235" y="6457"/>
                  <a:pt x="212" y="6457"/>
                </a:cubicBezTo>
                <a:cubicBezTo>
                  <a:pt x="143" y="6459"/>
                  <a:pt x="71" y="6461"/>
                  <a:pt x="0" y="6463"/>
                </a:cubicBezTo>
                <a:lnTo>
                  <a:pt x="0" y="1730"/>
                </a:lnTo>
                <a:lnTo>
                  <a:pt x="3000" y="0"/>
                </a:lnTo>
                <a:lnTo>
                  <a:pt x="7097" y="2366"/>
                </a:ln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4" name="Freeform 43"/>
          <p:cNvSpPr>
            <a:spLocks noChangeArrowheads="1"/>
          </p:cNvSpPr>
          <p:nvPr/>
        </p:nvSpPr>
        <p:spPr bwMode="auto">
          <a:xfrm>
            <a:off x="6626077" y="1048597"/>
            <a:ext cx="1584776" cy="1443032"/>
          </a:xfrm>
          <a:custGeom>
            <a:avLst/>
            <a:gdLst>
              <a:gd name="T0" fmla="*/ 7099 w 7100"/>
              <a:gd name="T1" fmla="*/ 4097 h 6465"/>
              <a:gd name="T2" fmla="*/ 7099 w 7100"/>
              <a:gd name="T3" fmla="*/ 4097 h 6465"/>
              <a:gd name="T4" fmla="*/ 3000 w 7100"/>
              <a:gd name="T5" fmla="*/ 6464 h 6465"/>
              <a:gd name="T6" fmla="*/ 0 w 7100"/>
              <a:gd name="T7" fmla="*/ 4731 h 6465"/>
              <a:gd name="T8" fmla="*/ 0 w 7100"/>
              <a:gd name="T9" fmla="*/ 0 h 6465"/>
              <a:gd name="T10" fmla="*/ 698 w 7100"/>
              <a:gd name="T11" fmla="*/ 40 h 6465"/>
              <a:gd name="T12" fmla="*/ 759 w 7100"/>
              <a:gd name="T13" fmla="*/ 46 h 6465"/>
              <a:gd name="T14" fmla="*/ 768 w 7100"/>
              <a:gd name="T15" fmla="*/ 46 h 6465"/>
              <a:gd name="T16" fmla="*/ 851 w 7100"/>
              <a:gd name="T17" fmla="*/ 57 h 6465"/>
              <a:gd name="T18" fmla="*/ 4069 w 7100"/>
              <a:gd name="T19" fmla="*/ 1123 h 6465"/>
              <a:gd name="T20" fmla="*/ 4135 w 7100"/>
              <a:gd name="T21" fmla="*/ 1160 h 6465"/>
              <a:gd name="T22" fmla="*/ 4191 w 7100"/>
              <a:gd name="T23" fmla="*/ 1194 h 6465"/>
              <a:gd name="T24" fmla="*/ 4237 w 7100"/>
              <a:gd name="T25" fmla="*/ 1221 h 6465"/>
              <a:gd name="T26" fmla="*/ 4304 w 7100"/>
              <a:gd name="T27" fmla="*/ 1261 h 6465"/>
              <a:gd name="T28" fmla="*/ 6658 w 7100"/>
              <a:gd name="T29" fmla="*/ 3439 h 6465"/>
              <a:gd name="T30" fmla="*/ 6694 w 7100"/>
              <a:gd name="T31" fmla="*/ 3489 h 6465"/>
              <a:gd name="T32" fmla="*/ 6757 w 7100"/>
              <a:gd name="T33" fmla="*/ 3579 h 6465"/>
              <a:gd name="T34" fmla="*/ 7099 w 7100"/>
              <a:gd name="T35" fmla="*/ 4097 h 64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100" h="6465">
                <a:moveTo>
                  <a:pt x="7099" y="4097"/>
                </a:moveTo>
                <a:lnTo>
                  <a:pt x="7099" y="4097"/>
                </a:lnTo>
                <a:lnTo>
                  <a:pt x="3000" y="6464"/>
                </a:lnTo>
                <a:lnTo>
                  <a:pt x="0" y="4731"/>
                </a:lnTo>
                <a:lnTo>
                  <a:pt x="0" y="0"/>
                </a:lnTo>
                <a:cubicBezTo>
                  <a:pt x="235" y="4"/>
                  <a:pt x="468" y="17"/>
                  <a:pt x="698" y="40"/>
                </a:cubicBezTo>
                <a:cubicBezTo>
                  <a:pt x="719" y="42"/>
                  <a:pt x="740" y="44"/>
                  <a:pt x="759" y="46"/>
                </a:cubicBezTo>
                <a:cubicBezTo>
                  <a:pt x="761" y="46"/>
                  <a:pt x="763" y="46"/>
                  <a:pt x="768" y="46"/>
                </a:cubicBezTo>
                <a:cubicBezTo>
                  <a:pt x="795" y="48"/>
                  <a:pt x="824" y="53"/>
                  <a:pt x="851" y="57"/>
                </a:cubicBezTo>
                <a:cubicBezTo>
                  <a:pt x="2014" y="193"/>
                  <a:pt x="3102" y="565"/>
                  <a:pt x="4069" y="1123"/>
                </a:cubicBezTo>
                <a:cubicBezTo>
                  <a:pt x="4090" y="1135"/>
                  <a:pt x="4111" y="1148"/>
                  <a:pt x="4135" y="1160"/>
                </a:cubicBezTo>
                <a:cubicBezTo>
                  <a:pt x="4153" y="1171"/>
                  <a:pt x="4172" y="1183"/>
                  <a:pt x="4191" y="1194"/>
                </a:cubicBezTo>
                <a:cubicBezTo>
                  <a:pt x="4206" y="1202"/>
                  <a:pt x="4223" y="1213"/>
                  <a:pt x="4237" y="1221"/>
                </a:cubicBezTo>
                <a:cubicBezTo>
                  <a:pt x="4260" y="1234"/>
                  <a:pt x="4281" y="1248"/>
                  <a:pt x="4304" y="1261"/>
                </a:cubicBezTo>
                <a:cubicBezTo>
                  <a:pt x="5221" y="1830"/>
                  <a:pt x="6020" y="2570"/>
                  <a:pt x="6658" y="3439"/>
                </a:cubicBezTo>
                <a:cubicBezTo>
                  <a:pt x="6671" y="3455"/>
                  <a:pt x="6683" y="3472"/>
                  <a:pt x="6694" y="3489"/>
                </a:cubicBezTo>
                <a:cubicBezTo>
                  <a:pt x="6715" y="3518"/>
                  <a:pt x="6736" y="3548"/>
                  <a:pt x="6757" y="3579"/>
                </a:cubicBezTo>
                <a:cubicBezTo>
                  <a:pt x="6878" y="3747"/>
                  <a:pt x="6992" y="3919"/>
                  <a:pt x="7099" y="4097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5" name="Freeform 44"/>
          <p:cNvSpPr>
            <a:spLocks noChangeArrowheads="1"/>
          </p:cNvSpPr>
          <p:nvPr/>
        </p:nvSpPr>
        <p:spPr bwMode="auto">
          <a:xfrm>
            <a:off x="7324953" y="2015212"/>
            <a:ext cx="1152654" cy="1829876"/>
          </a:xfrm>
          <a:custGeom>
            <a:avLst/>
            <a:gdLst>
              <a:gd name="T0" fmla="*/ 5162 w 5163"/>
              <a:gd name="T1" fmla="*/ 4099 h 8198"/>
              <a:gd name="T2" fmla="*/ 4921 w 5163"/>
              <a:gd name="T3" fmla="*/ 6110 h 8198"/>
              <a:gd name="T4" fmla="*/ 4902 w 5163"/>
              <a:gd name="T5" fmla="*/ 6185 h 8198"/>
              <a:gd name="T6" fmla="*/ 4101 w 5163"/>
              <a:gd name="T7" fmla="*/ 8197 h 8198"/>
              <a:gd name="T8" fmla="*/ 0 w 5163"/>
              <a:gd name="T9" fmla="*/ 5829 h 8198"/>
              <a:gd name="T10" fmla="*/ 0 w 5163"/>
              <a:gd name="T11" fmla="*/ 2366 h 8198"/>
              <a:gd name="T12" fmla="*/ 4099 w 5163"/>
              <a:gd name="T13" fmla="*/ 0 h 8198"/>
              <a:gd name="T14" fmla="*/ 4099 w 5163"/>
              <a:gd name="T15" fmla="*/ 0 h 8198"/>
              <a:gd name="T16" fmla="*/ 4128 w 5163"/>
              <a:gd name="T17" fmla="*/ 55 h 8198"/>
              <a:gd name="T18" fmla="*/ 4156 w 5163"/>
              <a:gd name="T19" fmla="*/ 105 h 8198"/>
              <a:gd name="T20" fmla="*/ 4716 w 5163"/>
              <a:gd name="T21" fmla="*/ 1389 h 8198"/>
              <a:gd name="T22" fmla="*/ 5116 w 5163"/>
              <a:gd name="T23" fmla="*/ 3235 h 8198"/>
              <a:gd name="T24" fmla="*/ 5125 w 5163"/>
              <a:gd name="T25" fmla="*/ 3312 h 8198"/>
              <a:gd name="T26" fmla="*/ 5133 w 5163"/>
              <a:gd name="T27" fmla="*/ 3394 h 8198"/>
              <a:gd name="T28" fmla="*/ 5162 w 5163"/>
              <a:gd name="T29" fmla="*/ 4099 h 8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163" h="8198">
                <a:moveTo>
                  <a:pt x="5162" y="4099"/>
                </a:moveTo>
                <a:cubicBezTo>
                  <a:pt x="5162" y="4792"/>
                  <a:pt x="5079" y="5466"/>
                  <a:pt x="4921" y="6110"/>
                </a:cubicBezTo>
                <a:cubicBezTo>
                  <a:pt x="4915" y="6135"/>
                  <a:pt x="4909" y="6160"/>
                  <a:pt x="4902" y="6185"/>
                </a:cubicBezTo>
                <a:cubicBezTo>
                  <a:pt x="4722" y="6897"/>
                  <a:pt x="4449" y="7570"/>
                  <a:pt x="4101" y="8197"/>
                </a:cubicBezTo>
                <a:lnTo>
                  <a:pt x="0" y="5829"/>
                </a:lnTo>
                <a:lnTo>
                  <a:pt x="0" y="2366"/>
                </a:lnTo>
                <a:lnTo>
                  <a:pt x="4099" y="0"/>
                </a:lnTo>
                <a:lnTo>
                  <a:pt x="4099" y="0"/>
                </a:lnTo>
                <a:cubicBezTo>
                  <a:pt x="4109" y="19"/>
                  <a:pt x="4118" y="36"/>
                  <a:pt x="4128" y="55"/>
                </a:cubicBezTo>
                <a:cubicBezTo>
                  <a:pt x="4137" y="71"/>
                  <a:pt x="4147" y="88"/>
                  <a:pt x="4156" y="105"/>
                </a:cubicBezTo>
                <a:cubicBezTo>
                  <a:pt x="4376" y="514"/>
                  <a:pt x="4565" y="942"/>
                  <a:pt x="4716" y="1389"/>
                </a:cubicBezTo>
                <a:cubicBezTo>
                  <a:pt x="4915" y="1978"/>
                  <a:pt x="5053" y="2595"/>
                  <a:pt x="5116" y="3235"/>
                </a:cubicBezTo>
                <a:cubicBezTo>
                  <a:pt x="5118" y="3260"/>
                  <a:pt x="5121" y="3285"/>
                  <a:pt x="5125" y="3312"/>
                </a:cubicBezTo>
                <a:cubicBezTo>
                  <a:pt x="5127" y="3340"/>
                  <a:pt x="5129" y="3367"/>
                  <a:pt x="5133" y="3394"/>
                </a:cubicBezTo>
                <a:cubicBezTo>
                  <a:pt x="5152" y="3627"/>
                  <a:pt x="5162" y="3862"/>
                  <a:pt x="5162" y="4099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6" name="Freeform 45"/>
          <p:cNvSpPr>
            <a:spLocks noChangeArrowheads="1"/>
          </p:cNvSpPr>
          <p:nvPr/>
        </p:nvSpPr>
        <p:spPr bwMode="auto">
          <a:xfrm>
            <a:off x="4981256" y="1048597"/>
            <a:ext cx="1584776" cy="1443032"/>
          </a:xfrm>
          <a:custGeom>
            <a:avLst/>
            <a:gdLst>
              <a:gd name="T0" fmla="*/ 7099 w 7100"/>
              <a:gd name="T1" fmla="*/ 0 h 6465"/>
              <a:gd name="T2" fmla="*/ 7099 w 7100"/>
              <a:gd name="T3" fmla="*/ 4733 h 6465"/>
              <a:gd name="T4" fmla="*/ 4099 w 7100"/>
              <a:gd name="T5" fmla="*/ 6464 h 6465"/>
              <a:gd name="T6" fmla="*/ 0 w 7100"/>
              <a:gd name="T7" fmla="*/ 4097 h 6465"/>
              <a:gd name="T8" fmla="*/ 7099 w 7100"/>
              <a:gd name="T9" fmla="*/ 0 h 64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100" h="6465">
                <a:moveTo>
                  <a:pt x="7099" y="0"/>
                </a:moveTo>
                <a:lnTo>
                  <a:pt x="7099" y="4733"/>
                </a:lnTo>
                <a:lnTo>
                  <a:pt x="4099" y="6464"/>
                </a:lnTo>
                <a:lnTo>
                  <a:pt x="0" y="4097"/>
                </a:lnTo>
                <a:cubicBezTo>
                  <a:pt x="1452" y="1678"/>
                  <a:pt x="4083" y="46"/>
                  <a:pt x="7099" y="0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6021953" y="2503204"/>
            <a:ext cx="11227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accent2"/>
                </a:solidFill>
              </a:rPr>
              <a:t>MAIN POINT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5339525" y="1449616"/>
            <a:ext cx="11227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ub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Point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6671393" y="1449616"/>
            <a:ext cx="11227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ub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Point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339525" y="3702101"/>
            <a:ext cx="11227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ub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Point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6671393" y="3702101"/>
            <a:ext cx="11227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ub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Poin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4694765" y="2561171"/>
            <a:ext cx="11227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ub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Point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7324953" y="2561171"/>
            <a:ext cx="11227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ub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Point</a:t>
            </a:r>
          </a:p>
        </p:txBody>
      </p:sp>
    </p:spTree>
    <p:extLst>
      <p:ext uri="{BB962C8B-B14F-4D97-AF65-F5344CB8AC3E}">
        <p14:creationId xmlns:p14="http://schemas.microsoft.com/office/powerpoint/2010/main" val="666430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4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4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9804025"/>
              </p:ext>
            </p:extLst>
          </p:nvPr>
        </p:nvGraphicFramePr>
        <p:xfrm>
          <a:off x="381000" y="1015823"/>
          <a:ext cx="8339675" cy="3649259"/>
        </p:xfrm>
        <a:graphic>
          <a:graphicData uri="http://schemas.openxmlformats.org/drawingml/2006/table">
            <a:tbl>
              <a:tblPr firstRow="1" firstCol="1" bandRow="1">
                <a:effectLst/>
                <a:tableStyleId>{18603FDC-E32A-4AB5-989C-0864C3EAD2B8}</a:tableStyleId>
              </a:tblPr>
              <a:tblGrid>
                <a:gridCol w="1737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008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008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008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6661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endParaRPr lang="en-US" sz="1200" cap="all" baseline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34290" marB="34290" anchor="ctr">
                    <a:lnL w="9525" cap="flat" cmpd="sng" algn="ctr">
                      <a:noFill/>
                      <a:prstDash val="solid"/>
                    </a:lnL>
                    <a:lnT w="9525" cap="flat" cmpd="sng" algn="ctr">
                      <a:noFill/>
                      <a:prstDash val="solid"/>
                    </a:lnT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600" cap="all" baseline="0" dirty="0">
                          <a:solidFill>
                            <a:schemeClr val="bg1"/>
                          </a:solidFill>
                          <a:latin typeface="+mj-lt"/>
                        </a:rPr>
                        <a:t>HEADER EXAMPLE</a:t>
                      </a:r>
                      <a:br>
                        <a:rPr lang="en-US" sz="1600" cap="all" baseline="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US" sz="1600" cap="all" baseline="0" dirty="0">
                          <a:solidFill>
                            <a:schemeClr val="bg1"/>
                          </a:solidFill>
                          <a:latin typeface="+mj-lt"/>
                        </a:rPr>
                        <a:t>All capS</a:t>
                      </a:r>
                    </a:p>
                  </a:txBody>
                  <a:tcPr marT="34290" marB="3429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600" cap="all" baseline="0" dirty="0">
                          <a:solidFill>
                            <a:schemeClr val="bg1"/>
                          </a:solidFill>
                          <a:latin typeface="+mj-lt"/>
                        </a:rPr>
                        <a:t>Arial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600" cap="all" baseline="0" dirty="0">
                          <a:solidFill>
                            <a:schemeClr val="bg1"/>
                          </a:solidFill>
                          <a:latin typeface="+mj-lt"/>
                        </a:rPr>
                        <a:t>16PT BOLD WHITE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76122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600" cap="all" baseline="0" dirty="0">
                          <a:solidFill>
                            <a:schemeClr val="tx1"/>
                          </a:solidFill>
                          <a:latin typeface="+mj-lt"/>
                        </a:rPr>
                        <a:t>FIRST ROW EXAMPLE</a:t>
                      </a:r>
                    </a:p>
                  </a:txBody>
                  <a:tcPr marT="68580" marB="68580">
                    <a:lnL w="9525" cap="flat" cmpd="sng" algn="ctr">
                      <a:noFill/>
                      <a:prstDash val="soli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Arial</a:t>
                      </a:r>
                    </a:p>
                  </a:txBody>
                  <a:tcPr marT="68580" marB="6858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Table body copy should be sentence case</a:t>
                      </a:r>
                    </a:p>
                  </a:txBody>
                  <a:tcPr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Wingdings" pitchFamily="2" charset="2"/>
                        <a:buChar char="§"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Optional bullet text</a:t>
                      </a:r>
                    </a:p>
                    <a:p>
                      <a:pPr marL="171450" indent="-171450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Wingdings" pitchFamily="2" charset="2"/>
                        <a:buChar char="§"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  <a:latin typeface="+mn-lt"/>
                        </a:rPr>
                        <a:t>Highlight</a:t>
                      </a: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 bold </a:t>
                      </a:r>
                      <a:b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with color </a:t>
                      </a:r>
                    </a:p>
                  </a:txBody>
                  <a:tcPr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5520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600" cap="all" baseline="0" dirty="0">
                          <a:solidFill>
                            <a:schemeClr val="tx1"/>
                          </a:solidFill>
                          <a:latin typeface="+mj-lt"/>
                        </a:rPr>
                        <a:t>Arial 16PT BOLD</a:t>
                      </a:r>
                    </a:p>
                  </a:txBody>
                  <a:tcPr marT="68580" marB="68580">
                    <a:lnL w="9525" cap="flat" cmpd="sng" algn="ctr">
                      <a:noFill/>
                      <a:prstDash val="soli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Minimum font size is 14pt</a:t>
                      </a:r>
                    </a:p>
                  </a:txBody>
                  <a:tcPr marT="68580" marB="6858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Tables should be concise and easy to read</a:t>
                      </a:r>
                    </a:p>
                  </a:txBody>
                  <a:tcPr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Wingdings" pitchFamily="2" charset="2"/>
                        <a:buChar char="§"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Subtext</a:t>
                      </a:r>
                    </a:p>
                    <a:p>
                      <a:pPr marL="171450" indent="-171450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Wingdings" pitchFamily="2" charset="2"/>
                        <a:buChar char="§"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Subtext</a:t>
                      </a:r>
                    </a:p>
                    <a:p>
                      <a:pPr marL="171450" indent="-171450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Wingdings" pitchFamily="2" charset="2"/>
                        <a:buChar char="§"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Subtext</a:t>
                      </a:r>
                    </a:p>
                  </a:txBody>
                  <a:tcPr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0126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600" cap="all" baseline="0" dirty="0">
                          <a:solidFill>
                            <a:schemeClr val="tx1"/>
                          </a:solidFill>
                          <a:latin typeface="+mj-lt"/>
                        </a:rPr>
                        <a:t>Headers should be All capitals</a:t>
                      </a:r>
                    </a:p>
                  </a:txBody>
                  <a:tcPr marT="68580" marB="68580">
                    <a:lnL w="9525" cap="flat" cmpd="sng" algn="ctr">
                      <a:noFill/>
                      <a:prstDash val="soli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Do not fill the cells with too much information</a:t>
                      </a:r>
                    </a:p>
                  </a:txBody>
                  <a:tcPr marT="68580" marB="6858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Wingdings" pitchFamily="2" charset="2"/>
                        <a:buChar char="§"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n-lt"/>
                        </a:rPr>
                        <a:t>Subtext</a:t>
                      </a:r>
                    </a:p>
                  </a:txBody>
                  <a:tcPr marT="68580" marB="6858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3883379" y="4681199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ample</a:t>
            </a:r>
          </a:p>
        </p:txBody>
      </p:sp>
    </p:spTree>
    <p:extLst>
      <p:ext uri="{BB962C8B-B14F-4D97-AF65-F5344CB8AC3E}">
        <p14:creationId xmlns:p14="http://schemas.microsoft.com/office/powerpoint/2010/main" val="2089077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/>
          <p:nvPr>
            <p:extLst>
              <p:ext uri="{D42A27DB-BD31-4B8C-83A1-F6EECF244321}">
                <p14:modId xmlns:p14="http://schemas.microsoft.com/office/powerpoint/2010/main" val="3654831792"/>
              </p:ext>
            </p:extLst>
          </p:nvPr>
        </p:nvGraphicFramePr>
        <p:xfrm>
          <a:off x="366774" y="755956"/>
          <a:ext cx="8326438" cy="39670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264160" y="4793442"/>
            <a:ext cx="7182864" cy="207749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>
            <a:defPPr>
              <a:defRPr lang="en-US"/>
            </a:defPPr>
            <a:lvl1pPr>
              <a:lnSpc>
                <a:spcPct val="70000"/>
              </a:lnSpc>
              <a:defRPr sz="5400" b="1">
                <a:solidFill>
                  <a:srgbClr val="414042"/>
                </a:solidFill>
                <a:latin typeface="HelveticaNeueLT Std" pitchFamily="34" charset="0"/>
              </a:defRPr>
            </a:lvl1pPr>
          </a:lstStyle>
          <a:p>
            <a:r>
              <a:rPr lang="en-US" sz="1000" dirty="0">
                <a:solidFill>
                  <a:srgbClr val="414141"/>
                </a:solidFill>
                <a:latin typeface="+mj-lt"/>
              </a:rPr>
              <a:t>SOURCE: </a:t>
            </a:r>
            <a:r>
              <a:rPr lang="en-US" sz="1000" b="0" dirty="0">
                <a:solidFill>
                  <a:srgbClr val="414141"/>
                </a:solidFill>
                <a:latin typeface="+mj-lt"/>
              </a:rPr>
              <a:t>DATA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r Chart Example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7052284" y="2951245"/>
            <a:ext cx="1964143" cy="1946071"/>
            <a:chOff x="3489330" y="3842121"/>
            <a:chExt cx="1964143" cy="2183523"/>
          </a:xfrm>
        </p:grpSpPr>
        <p:sp>
          <p:nvSpPr>
            <p:cNvPr id="11" name="Rectangular Callout 10"/>
            <p:cNvSpPr/>
            <p:nvPr/>
          </p:nvSpPr>
          <p:spPr>
            <a:xfrm>
              <a:off x="3489331" y="3842121"/>
              <a:ext cx="1964142" cy="2183523"/>
            </a:xfrm>
            <a:prstGeom prst="wedgeRectCallout">
              <a:avLst>
                <a:gd name="adj1" fmla="val -74978"/>
                <a:gd name="adj2" fmla="val 8745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565534" y="4418875"/>
              <a:ext cx="1887939" cy="158851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spcAft>
                  <a:spcPts val="1200"/>
                </a:spcAft>
              </a:pPr>
              <a:r>
                <a:rPr lang="en-US" sz="1400" b="1" dirty="0">
                  <a:solidFill>
                    <a:schemeClr val="bg1"/>
                  </a:solidFill>
                </a:rPr>
                <a:t>PPT CHARTS</a:t>
              </a:r>
              <a:br>
                <a:rPr lang="en-US" sz="1600" b="1" dirty="0">
                  <a:solidFill>
                    <a:schemeClr val="bg1"/>
                  </a:solidFill>
                </a:rPr>
              </a:br>
              <a:r>
                <a:rPr lang="en-US" sz="1200" dirty="0">
                  <a:solidFill>
                    <a:schemeClr val="bg1"/>
                  </a:solidFill>
                </a:rPr>
                <a:t>To preserve the chart style, right click on the chart and choose Edit Data. Type or paste your data into the linked spreadsheet.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489330" y="3842121"/>
              <a:ext cx="1964143" cy="576811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  <a:effectLst/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 cap="all" dirty="0">
                  <a:solidFill>
                    <a:schemeClr val="bg1"/>
                  </a:solidFill>
                  <a:latin typeface="Arial Black"/>
                  <a:cs typeface="Arial Black"/>
                </a:rPr>
                <a:t>NO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71144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/>
          <p:nvPr/>
        </p:nvGraphicFramePr>
        <p:xfrm>
          <a:off x="298450" y="804835"/>
          <a:ext cx="8326438" cy="38269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e Chart Exampl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64160" y="4793442"/>
            <a:ext cx="7182864" cy="207749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>
            <a:defPPr>
              <a:defRPr lang="en-US"/>
            </a:defPPr>
            <a:lvl1pPr>
              <a:lnSpc>
                <a:spcPct val="70000"/>
              </a:lnSpc>
              <a:defRPr sz="5400" b="1">
                <a:solidFill>
                  <a:srgbClr val="414042"/>
                </a:solidFill>
                <a:latin typeface="HelveticaNeueLT Std" pitchFamily="34" charset="0"/>
              </a:defRPr>
            </a:lvl1pPr>
          </a:lstStyle>
          <a:p>
            <a:r>
              <a:rPr lang="en-US" sz="1000" dirty="0">
                <a:solidFill>
                  <a:srgbClr val="414141"/>
                </a:solidFill>
                <a:latin typeface="+mj-lt"/>
              </a:rPr>
              <a:t>SOURCE: </a:t>
            </a:r>
            <a:r>
              <a:rPr lang="en-US" sz="1000" b="0" dirty="0">
                <a:solidFill>
                  <a:srgbClr val="414141"/>
                </a:solidFill>
                <a:latin typeface="+mj-lt"/>
              </a:rPr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3862190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Pie Chart Example</a:t>
            </a:r>
          </a:p>
        </p:txBody>
      </p:sp>
      <p:graphicFrame>
        <p:nvGraphicFramePr>
          <p:cNvPr id="3" name="Chart 2"/>
          <p:cNvGraphicFramePr/>
          <p:nvPr/>
        </p:nvGraphicFramePr>
        <p:xfrm>
          <a:off x="592667" y="946953"/>
          <a:ext cx="8356600" cy="38634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64160" y="4793442"/>
            <a:ext cx="7182864" cy="207749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>
            <a:defPPr>
              <a:defRPr lang="en-US"/>
            </a:defPPr>
            <a:lvl1pPr>
              <a:lnSpc>
                <a:spcPct val="70000"/>
              </a:lnSpc>
              <a:defRPr sz="5400" b="1">
                <a:solidFill>
                  <a:srgbClr val="414042"/>
                </a:solidFill>
                <a:latin typeface="HelveticaNeueLT Std" pitchFamily="34" charset="0"/>
              </a:defRPr>
            </a:lvl1pPr>
          </a:lstStyle>
          <a:p>
            <a:r>
              <a:rPr lang="en-US" sz="1000" dirty="0">
                <a:solidFill>
                  <a:srgbClr val="414141"/>
                </a:solidFill>
                <a:latin typeface="+mj-lt"/>
              </a:rPr>
              <a:t>SOURCE: </a:t>
            </a:r>
            <a:r>
              <a:rPr lang="en-US" sz="1000" b="0" dirty="0">
                <a:solidFill>
                  <a:srgbClr val="414141"/>
                </a:solidFill>
                <a:latin typeface="+mj-lt"/>
              </a:rPr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2511657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64160" y="900668"/>
            <a:ext cx="8419298" cy="3985706"/>
          </a:xfrm>
        </p:spPr>
        <p:txBody>
          <a:bodyPr/>
          <a:lstStyle/>
          <a:p>
            <a:r>
              <a:rPr lang="en-US" sz="1600" b="0" i="0" dirty="0">
                <a:solidFill>
                  <a:schemeClr val="tx2"/>
                </a:solidFill>
                <a:effectLst/>
                <a:latin typeface="SF Pro Display"/>
              </a:rPr>
              <a:t>An interface to the user’s defaults database, where you store key-value pairs persistently across launches of your app.</a:t>
            </a:r>
            <a:endParaRPr lang="en-US" sz="1600" dirty="0">
              <a:solidFill>
                <a:schemeClr val="tx2"/>
              </a:solidFill>
            </a:endParaRPr>
          </a:p>
          <a:p>
            <a:pPr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 dirty="0" err="1"/>
              <a:t>NSData</a:t>
            </a:r>
            <a:endParaRPr lang="en-US" sz="1600" dirty="0"/>
          </a:p>
          <a:p>
            <a:pPr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 dirty="0" err="1"/>
              <a:t>NSString</a:t>
            </a:r>
            <a:r>
              <a:rPr lang="en-US" sz="1600" dirty="0"/>
              <a:t> </a:t>
            </a:r>
          </a:p>
          <a:p>
            <a:pPr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 dirty="0" err="1"/>
              <a:t>NSNumber</a:t>
            </a:r>
            <a:endParaRPr lang="en-US" sz="1600" dirty="0"/>
          </a:p>
          <a:p>
            <a:pPr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 dirty="0" err="1"/>
              <a:t>NSDate</a:t>
            </a:r>
            <a:endParaRPr lang="en-US" sz="1600" dirty="0"/>
          </a:p>
          <a:p>
            <a:pPr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 dirty="0" err="1"/>
              <a:t>NSArray</a:t>
            </a:r>
            <a:endParaRPr lang="en-US" sz="1600" dirty="0"/>
          </a:p>
          <a:p>
            <a:pPr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 dirty="0" err="1"/>
              <a:t>NSDictionary</a:t>
            </a:r>
            <a:endParaRPr lang="en-US" sz="1600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NSUserDefault</a:t>
            </a:r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E325804-2236-1958-E6FD-A3144DD8E4E3}"/>
              </a:ext>
            </a:extLst>
          </p:cNvPr>
          <p:cNvSpPr txBox="1"/>
          <p:nvPr/>
        </p:nvSpPr>
        <p:spPr>
          <a:xfrm>
            <a:off x="8583122" y="4196074"/>
            <a:ext cx="13456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event</a:t>
            </a:r>
            <a:endParaRPr lang="en-VN" sz="1200" dirty="0"/>
          </a:p>
        </p:txBody>
      </p:sp>
    </p:spTree>
    <p:extLst>
      <p:ext uri="{BB962C8B-B14F-4D97-AF65-F5344CB8AC3E}">
        <p14:creationId xmlns:p14="http://schemas.microsoft.com/office/powerpoint/2010/main" val="3656350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840368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5268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64159" y="900668"/>
            <a:ext cx="7597049" cy="584775"/>
          </a:xfrm>
        </p:spPr>
        <p:txBody>
          <a:bodyPr/>
          <a:lstStyle/>
          <a:p>
            <a:r>
              <a:rPr lang="en-US" sz="1600" b="0" i="0" dirty="0">
                <a:solidFill>
                  <a:srgbClr val="414141"/>
                </a:solidFill>
                <a:effectLst/>
                <a:latin typeface="Helvetica" pitchFamily="2" charset="0"/>
              </a:rPr>
              <a:t>Core Data is a framework that you use to manage the model layer objects in your application.</a:t>
            </a:r>
            <a:endParaRPr lang="en-US" sz="160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oreData</a:t>
            </a:r>
            <a:endParaRPr lang="en-US" dirty="0"/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582CBCCD-0FCB-AB8E-8D2C-8809B4255A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1475418"/>
              </p:ext>
            </p:extLst>
          </p:nvPr>
        </p:nvGraphicFramePr>
        <p:xfrm>
          <a:off x="2651103" y="1731665"/>
          <a:ext cx="6228738" cy="26364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28738">
                  <a:extLst>
                    <a:ext uri="{9D8B030D-6E8A-4147-A177-3AD203B41FA5}">
                      <a16:colId xmlns:a16="http://schemas.microsoft.com/office/drawing/2014/main" val="954972296"/>
                    </a:ext>
                  </a:extLst>
                </a:gridCol>
              </a:tblGrid>
              <a:tr h="2636404">
                <a:tc>
                  <a:txBody>
                    <a:bodyPr/>
                    <a:lstStyle/>
                    <a:p>
                      <a:endParaRPr lang="en-VN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6668503"/>
                  </a:ext>
                </a:extLst>
              </a:tr>
            </a:tbl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48DA0C8-33A8-368A-3FF5-3C2C9CBB8488}"/>
              </a:ext>
            </a:extLst>
          </p:cNvPr>
          <p:cNvSpPr/>
          <p:nvPr/>
        </p:nvSpPr>
        <p:spPr>
          <a:xfrm>
            <a:off x="4711735" y="1843804"/>
            <a:ext cx="1532771" cy="45215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/>
                </a:solidFill>
                <a:latin typeface="+mj-lt"/>
              </a:rPr>
              <a:t>M</a:t>
            </a:r>
            <a:r>
              <a:rPr lang="en-VN" sz="1200" dirty="0">
                <a:solidFill>
                  <a:schemeClr val="tx2"/>
                </a:solidFill>
                <a:latin typeface="+mj-lt"/>
              </a:rPr>
              <a:t>anaged object context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295F4649-3E85-21C3-2939-1786DD4604D8}"/>
              </a:ext>
            </a:extLst>
          </p:cNvPr>
          <p:cNvSpPr/>
          <p:nvPr/>
        </p:nvSpPr>
        <p:spPr>
          <a:xfrm>
            <a:off x="4711733" y="2617355"/>
            <a:ext cx="1532771" cy="45215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/>
                </a:solidFill>
                <a:latin typeface="+mj-lt"/>
              </a:rPr>
              <a:t>P</a:t>
            </a:r>
            <a:r>
              <a:rPr lang="en-VN" sz="1200" dirty="0">
                <a:solidFill>
                  <a:schemeClr val="tx2"/>
                </a:solidFill>
                <a:latin typeface="+mj-lt"/>
              </a:rPr>
              <a:t>ersistent store coordinator 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0EF9B032-88DD-B491-A049-A4930F1B5655}"/>
              </a:ext>
            </a:extLst>
          </p:cNvPr>
          <p:cNvSpPr/>
          <p:nvPr/>
        </p:nvSpPr>
        <p:spPr>
          <a:xfrm>
            <a:off x="6896105" y="2617355"/>
            <a:ext cx="1532771" cy="45215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/>
                </a:solidFill>
                <a:latin typeface="+mj-lt"/>
              </a:rPr>
              <a:t>Persistent store</a:t>
            </a:r>
            <a:endParaRPr lang="en-VN" sz="12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51CA6626-AFC3-F104-A466-B98D38DADB19}"/>
              </a:ext>
            </a:extLst>
          </p:cNvPr>
          <p:cNvSpPr/>
          <p:nvPr/>
        </p:nvSpPr>
        <p:spPr>
          <a:xfrm>
            <a:off x="4711733" y="3410849"/>
            <a:ext cx="1532771" cy="45215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/>
                </a:solidFill>
                <a:latin typeface="+mj-lt"/>
              </a:rPr>
              <a:t>M</a:t>
            </a:r>
            <a:r>
              <a:rPr lang="en-VN" sz="1200" dirty="0">
                <a:solidFill>
                  <a:schemeClr val="tx2"/>
                </a:solidFill>
                <a:latin typeface="+mj-lt"/>
              </a:rPr>
              <a:t>anaged object model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E6C3DED8-C4AA-4EDC-9F6B-422430C84318}"/>
              </a:ext>
            </a:extLst>
          </p:cNvPr>
          <p:cNvSpPr/>
          <p:nvPr/>
        </p:nvSpPr>
        <p:spPr>
          <a:xfrm>
            <a:off x="2795769" y="3410849"/>
            <a:ext cx="1532771" cy="45215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2"/>
                </a:solidFill>
                <a:latin typeface="+mj-lt"/>
              </a:rPr>
              <a:t>D</a:t>
            </a:r>
            <a:r>
              <a:rPr lang="en-VN" sz="1200" dirty="0">
                <a:solidFill>
                  <a:schemeClr val="tx2"/>
                </a:solidFill>
                <a:latin typeface="+mj-lt"/>
              </a:rPr>
              <a:t>ata model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4B74CFE-1E49-940F-F1E5-4AB1448C941F}"/>
              </a:ext>
            </a:extLst>
          </p:cNvPr>
          <p:cNvCxnSpPr>
            <a:cxnSpLocks/>
            <a:endCxn id="4" idx="0"/>
          </p:cNvCxnSpPr>
          <p:nvPr/>
        </p:nvCxnSpPr>
        <p:spPr>
          <a:xfrm>
            <a:off x="5478118" y="2311625"/>
            <a:ext cx="1" cy="30573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3A428D1-8E3D-469B-6DDE-6E0A8565533E}"/>
              </a:ext>
            </a:extLst>
          </p:cNvPr>
          <p:cNvCxnSpPr>
            <a:endCxn id="8" idx="0"/>
          </p:cNvCxnSpPr>
          <p:nvPr/>
        </p:nvCxnSpPr>
        <p:spPr>
          <a:xfrm>
            <a:off x="5478118" y="3069510"/>
            <a:ext cx="1" cy="341339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68545BE-99AB-BC18-16FB-13FCD668DEC4}"/>
              </a:ext>
            </a:extLst>
          </p:cNvPr>
          <p:cNvCxnSpPr>
            <a:endCxn id="7" idx="1"/>
          </p:cNvCxnSpPr>
          <p:nvPr/>
        </p:nvCxnSpPr>
        <p:spPr>
          <a:xfrm flipV="1">
            <a:off x="6244504" y="2843433"/>
            <a:ext cx="651601" cy="4109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0002CB6-787C-1ED5-31CA-9849CD35C195}"/>
              </a:ext>
            </a:extLst>
          </p:cNvPr>
          <p:cNvCxnSpPr>
            <a:endCxn id="8" idx="1"/>
          </p:cNvCxnSpPr>
          <p:nvPr/>
        </p:nvCxnSpPr>
        <p:spPr>
          <a:xfrm>
            <a:off x="4328540" y="3636926"/>
            <a:ext cx="383193" cy="1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6659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1E1122-F6FD-D848-1B1C-E10AD32D04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4160" y="900668"/>
            <a:ext cx="4130040" cy="2015936"/>
          </a:xfrm>
        </p:spPr>
        <p:txBody>
          <a:bodyPr/>
          <a:lstStyle/>
          <a:p>
            <a:r>
              <a:rPr lang="en-VN" dirty="0"/>
              <a:t>NSURLConnection</a:t>
            </a:r>
          </a:p>
          <a:p>
            <a:r>
              <a:rPr lang="en-VN" dirty="0"/>
              <a:t>NSURLSession</a:t>
            </a:r>
          </a:p>
          <a:p>
            <a:r>
              <a:rPr lang="en-VN" dirty="0"/>
              <a:t>AFNetworking </a:t>
            </a:r>
          </a:p>
          <a:p>
            <a:r>
              <a:rPr lang="en-VN" dirty="0"/>
              <a:t>Alamofi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01A189-3121-8D7E-9B25-148AD0DCDC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VN" dirty="0"/>
              <a:t>Network programing</a:t>
            </a:r>
          </a:p>
        </p:txBody>
      </p:sp>
    </p:spTree>
    <p:extLst>
      <p:ext uri="{BB962C8B-B14F-4D97-AF65-F5344CB8AC3E}">
        <p14:creationId xmlns:p14="http://schemas.microsoft.com/office/powerpoint/2010/main" val="720389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64160" y="979546"/>
            <a:ext cx="4130040" cy="2246769"/>
          </a:xfrm>
        </p:spPr>
        <p:txBody>
          <a:bodyPr/>
          <a:lstStyle/>
          <a:p>
            <a:r>
              <a:rPr lang="en-US" sz="1600" dirty="0"/>
              <a:t>GET</a:t>
            </a:r>
          </a:p>
          <a:p>
            <a:r>
              <a:rPr lang="en-US" sz="1600" dirty="0"/>
              <a:t>POST</a:t>
            </a:r>
          </a:p>
          <a:p>
            <a:r>
              <a:rPr lang="en-US" sz="1600" dirty="0"/>
              <a:t>PATCH</a:t>
            </a:r>
          </a:p>
          <a:p>
            <a:r>
              <a:rPr lang="en-US" sz="1600" dirty="0"/>
              <a:t>PUT</a:t>
            </a:r>
          </a:p>
          <a:p>
            <a:r>
              <a:rPr lang="en-US" sz="1600" dirty="0"/>
              <a:t>DELET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64160" y="84824"/>
            <a:ext cx="7051040" cy="732441"/>
          </a:xfrm>
        </p:spPr>
        <p:txBody>
          <a:bodyPr/>
          <a:lstStyle/>
          <a:p>
            <a:r>
              <a:rPr lang="en-US" dirty="0"/>
              <a:t>Rest API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784558" y="1031099"/>
            <a:ext cx="3898900" cy="356251"/>
          </a:xfrm>
          <a:prstGeom prst="rect">
            <a:avLst/>
          </a:prstGeom>
          <a:noFill/>
          <a:effectLst/>
        </p:spPr>
        <p:txBody>
          <a:bodyPr wrap="square" rtlCol="0" anchor="ctr" anchorCtr="0">
            <a:spAutoFit/>
          </a:bodyPr>
          <a:lstStyle>
            <a:defPPr>
              <a:defRPr lang="en-US"/>
            </a:defPPr>
            <a:lvl1pPr>
              <a:lnSpc>
                <a:spcPct val="70000"/>
              </a:lnSpc>
              <a:defRPr sz="5400" b="1">
                <a:solidFill>
                  <a:srgbClr val="414042"/>
                </a:solidFill>
                <a:latin typeface="HelveticaNeueLT Std" pitchFamily="34" charset="0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  <a:latin typeface="Arial"/>
                <a:cs typeface="Arial"/>
              </a:rPr>
              <a:t>TEXT EXAMPLE</a:t>
            </a:r>
          </a:p>
        </p:txBody>
      </p:sp>
      <p:pic>
        <p:nvPicPr>
          <p:cNvPr id="2050" name="Picture 2" descr="REST API Versioning - Vantien's blog">
            <a:extLst>
              <a:ext uri="{FF2B5EF4-FFF2-40B4-BE49-F238E27FC236}">
                <a16:creationId xmlns:a16="http://schemas.microsoft.com/office/drawing/2014/main" id="{50158FD3-B470-E0DE-8300-A101FF0ADB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9461" y="913678"/>
            <a:ext cx="4915008" cy="3709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5920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64160" y="900668"/>
            <a:ext cx="4130040" cy="938719"/>
          </a:xfrm>
        </p:spPr>
        <p:txBody>
          <a:bodyPr/>
          <a:lstStyle/>
          <a:p>
            <a:r>
              <a:rPr lang="en-US" dirty="0"/>
              <a:t>State Changes in an IOS app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VVM Architecture</a:t>
            </a: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93BE4C4C-4D82-E6D1-B9A4-28A6471107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1337275"/>
              </p:ext>
            </p:extLst>
          </p:nvPr>
        </p:nvGraphicFramePr>
        <p:xfrm>
          <a:off x="3644444" y="1488902"/>
          <a:ext cx="5235396" cy="26620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35396">
                  <a:extLst>
                    <a:ext uri="{9D8B030D-6E8A-4147-A177-3AD203B41FA5}">
                      <a16:colId xmlns:a16="http://schemas.microsoft.com/office/drawing/2014/main" val="1533634379"/>
                    </a:ext>
                  </a:extLst>
                </a:gridCol>
              </a:tblGrid>
              <a:tr h="2662079">
                <a:tc>
                  <a:txBody>
                    <a:bodyPr/>
                    <a:lstStyle/>
                    <a:p>
                      <a:endParaRPr lang="en-VN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2258597"/>
                  </a:ext>
                </a:extLst>
              </a:tr>
            </a:tbl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45A47713-AC7C-6B0A-A74B-0693C33F2BA2}"/>
              </a:ext>
            </a:extLst>
          </p:cNvPr>
          <p:cNvSpPr/>
          <p:nvPr/>
        </p:nvSpPr>
        <p:spPr>
          <a:xfrm>
            <a:off x="5740775" y="1851063"/>
            <a:ext cx="1476041" cy="567746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VN" dirty="0">
                <a:solidFill>
                  <a:schemeClr val="tx2"/>
                </a:solidFill>
                <a:latin typeface="+mj-lt"/>
              </a:rPr>
              <a:t>ViewModel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DD330EAD-6490-D7A1-8D95-DC9E1C876017}"/>
              </a:ext>
            </a:extLst>
          </p:cNvPr>
          <p:cNvSpPr/>
          <p:nvPr/>
        </p:nvSpPr>
        <p:spPr>
          <a:xfrm>
            <a:off x="4223521" y="3110481"/>
            <a:ext cx="1476041" cy="567746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VN" dirty="0">
                <a:solidFill>
                  <a:schemeClr val="tx2"/>
                </a:solidFill>
                <a:latin typeface="+mj-lt"/>
              </a:rPr>
              <a:t>Model</a:t>
            </a:r>
            <a:r>
              <a:rPr lang="en-VN" dirty="0">
                <a:latin typeface="+mj-lt"/>
              </a:rPr>
              <a:t> 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FA7D172A-C7FF-3E7B-A851-E29203B8F984}"/>
              </a:ext>
            </a:extLst>
          </p:cNvPr>
          <p:cNvSpPr/>
          <p:nvPr/>
        </p:nvSpPr>
        <p:spPr>
          <a:xfrm>
            <a:off x="7288557" y="3109001"/>
            <a:ext cx="1476041" cy="567746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VN" dirty="0">
                <a:solidFill>
                  <a:schemeClr val="tx2"/>
                </a:solidFill>
                <a:latin typeface="+mj-lt"/>
              </a:rPr>
              <a:t>View</a:t>
            </a:r>
          </a:p>
        </p:txBody>
      </p:sp>
      <p:cxnSp>
        <p:nvCxnSpPr>
          <p:cNvPr id="10" name="Elbow Connector 9">
            <a:extLst>
              <a:ext uri="{FF2B5EF4-FFF2-40B4-BE49-F238E27FC236}">
                <a16:creationId xmlns:a16="http://schemas.microsoft.com/office/drawing/2014/main" id="{F2912A69-4B58-04E6-2E68-268D34CE8948}"/>
              </a:ext>
            </a:extLst>
          </p:cNvPr>
          <p:cNvCxnSpPr>
            <a:cxnSpLocks/>
            <a:stCxn id="4" idx="0"/>
            <a:endCxn id="3" idx="1"/>
          </p:cNvCxnSpPr>
          <p:nvPr/>
        </p:nvCxnSpPr>
        <p:spPr>
          <a:xfrm rot="5400000" flipH="1" flipV="1">
            <a:off x="4863386" y="2233093"/>
            <a:ext cx="975545" cy="779233"/>
          </a:xfrm>
          <a:prstGeom prst="bentConnector2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Elbow Connector 11">
            <a:extLst>
              <a:ext uri="{FF2B5EF4-FFF2-40B4-BE49-F238E27FC236}">
                <a16:creationId xmlns:a16="http://schemas.microsoft.com/office/drawing/2014/main" id="{1A913C33-0DDA-CD59-8482-F4F91F2D6FFC}"/>
              </a:ext>
            </a:extLst>
          </p:cNvPr>
          <p:cNvCxnSpPr>
            <a:stCxn id="7" idx="0"/>
            <a:endCxn id="3" idx="3"/>
          </p:cNvCxnSpPr>
          <p:nvPr/>
        </p:nvCxnSpPr>
        <p:spPr>
          <a:xfrm rot="16200000" flipV="1">
            <a:off x="7134665" y="2217088"/>
            <a:ext cx="974065" cy="809762"/>
          </a:xfrm>
          <a:prstGeom prst="bentConnector2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lbow Connector 13">
            <a:extLst>
              <a:ext uri="{FF2B5EF4-FFF2-40B4-BE49-F238E27FC236}">
                <a16:creationId xmlns:a16="http://schemas.microsoft.com/office/drawing/2014/main" id="{91302415-6306-50B4-3E67-97C4736ECF75}"/>
              </a:ext>
            </a:extLst>
          </p:cNvPr>
          <p:cNvCxnSpPr>
            <a:cxnSpLocks/>
            <a:endCxn id="4" idx="3"/>
          </p:cNvCxnSpPr>
          <p:nvPr/>
        </p:nvCxnSpPr>
        <p:spPr>
          <a:xfrm rot="5400000">
            <a:off x="5521063" y="2602507"/>
            <a:ext cx="970347" cy="613347"/>
          </a:xfrm>
          <a:prstGeom prst="bentConnector2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Elbow Connector 19">
            <a:extLst>
              <a:ext uri="{FF2B5EF4-FFF2-40B4-BE49-F238E27FC236}">
                <a16:creationId xmlns:a16="http://schemas.microsoft.com/office/drawing/2014/main" id="{6AE559F7-3ECD-E28A-121B-5E00503E00C8}"/>
              </a:ext>
            </a:extLst>
          </p:cNvPr>
          <p:cNvCxnSpPr>
            <a:cxnSpLocks/>
            <a:endCxn id="7" idx="1"/>
          </p:cNvCxnSpPr>
          <p:nvPr/>
        </p:nvCxnSpPr>
        <p:spPr>
          <a:xfrm rot="16200000" flipH="1">
            <a:off x="6440513" y="2544830"/>
            <a:ext cx="974066" cy="722022"/>
          </a:xfrm>
          <a:prstGeom prst="bentConnector2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35FB9AA2-D52A-94A9-2544-A1ABB85CD0F5}"/>
              </a:ext>
            </a:extLst>
          </p:cNvPr>
          <p:cNvSpPr txBox="1"/>
          <p:nvPr/>
        </p:nvSpPr>
        <p:spPr>
          <a:xfrm>
            <a:off x="5002756" y="1873888"/>
            <a:ext cx="5888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VN" sz="1200" dirty="0"/>
              <a:t>Notif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8EE2E60-D2B8-3ECB-D689-9137371FC51D}"/>
              </a:ext>
            </a:extLst>
          </p:cNvPr>
          <p:cNvSpPr txBox="1"/>
          <p:nvPr/>
        </p:nvSpPr>
        <p:spPr>
          <a:xfrm>
            <a:off x="7365951" y="1873888"/>
            <a:ext cx="5888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E</a:t>
            </a:r>
            <a:r>
              <a:rPr lang="en-VN" sz="1200" dirty="0"/>
              <a:t>ven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6AD2938-0D2D-1752-EE7D-56226638FDB9}"/>
              </a:ext>
            </a:extLst>
          </p:cNvPr>
          <p:cNvSpPr txBox="1"/>
          <p:nvPr/>
        </p:nvSpPr>
        <p:spPr>
          <a:xfrm>
            <a:off x="5707885" y="3121339"/>
            <a:ext cx="7136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VN" sz="1200" dirty="0"/>
              <a:t>Updat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00111CB-5F86-3D76-F05C-3C418E27EB7F}"/>
              </a:ext>
            </a:extLst>
          </p:cNvPr>
          <p:cNvSpPr txBox="1"/>
          <p:nvPr/>
        </p:nvSpPr>
        <p:spPr>
          <a:xfrm>
            <a:off x="6566535" y="3115874"/>
            <a:ext cx="7136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VN" sz="1200" dirty="0"/>
              <a:t>Binding</a:t>
            </a:r>
          </a:p>
        </p:txBody>
      </p:sp>
    </p:spTree>
    <p:extLst>
      <p:ext uri="{BB962C8B-B14F-4D97-AF65-F5344CB8AC3E}">
        <p14:creationId xmlns:p14="http://schemas.microsoft.com/office/powerpoint/2010/main" val="649206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64160" y="900668"/>
            <a:ext cx="4130040" cy="938719"/>
          </a:xfrm>
        </p:spPr>
        <p:txBody>
          <a:bodyPr/>
          <a:lstStyle/>
          <a:p>
            <a:r>
              <a:rPr lang="en-US" dirty="0"/>
              <a:t>Test cases. </a:t>
            </a:r>
          </a:p>
          <a:p>
            <a:r>
              <a:rPr lang="en-US" dirty="0"/>
              <a:t>Test metho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64160" y="80359"/>
            <a:ext cx="7051040" cy="732441"/>
          </a:xfrm>
        </p:spPr>
        <p:txBody>
          <a:bodyPr/>
          <a:lstStyle/>
          <a:p>
            <a:r>
              <a:rPr lang="en-US" dirty="0" err="1"/>
              <a:t>XCTest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4784558" y="1031099"/>
            <a:ext cx="3898900" cy="356251"/>
          </a:xfrm>
          <a:prstGeom prst="rect">
            <a:avLst/>
          </a:prstGeom>
          <a:noFill/>
          <a:effectLst/>
        </p:spPr>
        <p:txBody>
          <a:bodyPr wrap="square" rtlCol="0" anchor="ctr" anchorCtr="0">
            <a:spAutoFit/>
          </a:bodyPr>
          <a:lstStyle>
            <a:defPPr>
              <a:defRPr lang="en-US"/>
            </a:defPPr>
            <a:lvl1pPr>
              <a:lnSpc>
                <a:spcPct val="70000"/>
              </a:lnSpc>
              <a:defRPr sz="5400" b="1">
                <a:solidFill>
                  <a:srgbClr val="414042"/>
                </a:solidFill>
                <a:latin typeface="HelveticaNeueLT Std" pitchFamily="34" charset="0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  <a:latin typeface="Arial"/>
                <a:cs typeface="Arial"/>
              </a:rPr>
              <a:t>TEXT EXAMPLE</a:t>
            </a:r>
          </a:p>
        </p:txBody>
      </p:sp>
    </p:spTree>
    <p:extLst>
      <p:ext uri="{BB962C8B-B14F-4D97-AF65-F5344CB8AC3E}">
        <p14:creationId xmlns:p14="http://schemas.microsoft.com/office/powerpoint/2010/main" val="812341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88626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sKxPgaN0CfpSZ.QhdroQ"/>
</p:tagLst>
</file>

<file path=ppt/theme/theme1.xml><?xml version="1.0" encoding="utf-8"?>
<a:theme xmlns:a="http://schemas.openxmlformats.org/drawingml/2006/main" name="HV2019">
  <a:themeElements>
    <a:clrScheme name="2020">
      <a:dk1>
        <a:srgbClr val="414141"/>
      </a:dk1>
      <a:lt1>
        <a:srgbClr val="FFFFFF"/>
      </a:lt1>
      <a:dk2>
        <a:srgbClr val="000000"/>
      </a:dk2>
      <a:lt2>
        <a:srgbClr val="D8D9D8"/>
      </a:lt2>
      <a:accent1>
        <a:srgbClr val="650000"/>
      </a:accent1>
      <a:accent2>
        <a:srgbClr val="CC0000"/>
      </a:accent2>
      <a:accent3>
        <a:srgbClr val="051C2C"/>
      </a:accent3>
      <a:accent4>
        <a:srgbClr val="6FCACE"/>
      </a:accent4>
      <a:accent5>
        <a:srgbClr val="FA6800"/>
      </a:accent5>
      <a:accent6>
        <a:srgbClr val="FEC22B"/>
      </a:accent6>
      <a:hlink>
        <a:srgbClr val="CC0000"/>
      </a:hlink>
      <a:folHlink>
        <a:srgbClr val="525252"/>
      </a:folHlink>
    </a:clrScheme>
    <a:fontScheme name="HDS 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9_Hitachi_PowerPoint_Template_FINAL" id="{EEF560B3-A278-8A46-A0A1-C3576721E3CE}" vid="{7D18D779-D3B2-0745-8CC2-85F014286B3C}"/>
    </a:ext>
  </a:extLst>
</a:theme>
</file>

<file path=ppt/theme/theme2.xml><?xml version="1.0" encoding="utf-8"?>
<a:theme xmlns:a="http://schemas.openxmlformats.org/drawingml/2006/main" name="Office Theme">
  <a:themeElements>
    <a:clrScheme name="HDS 2011">
      <a:dk1>
        <a:sysClr val="windowText" lastClr="000000"/>
      </a:dk1>
      <a:lt1>
        <a:sysClr val="window" lastClr="FFFFFF"/>
      </a:lt1>
      <a:dk2>
        <a:srgbClr val="14AF9F"/>
      </a:dk2>
      <a:lt2>
        <a:srgbClr val="6D6E71"/>
      </a:lt2>
      <a:accent1>
        <a:srgbClr val="FD0014"/>
      </a:accent1>
      <a:accent2>
        <a:srgbClr val="C20014"/>
      </a:accent2>
      <a:accent3>
        <a:srgbClr val="009933"/>
      </a:accent3>
      <a:accent4>
        <a:srgbClr val="0073B2"/>
      </a:accent4>
      <a:accent5>
        <a:srgbClr val="DEB408"/>
      </a:accent5>
      <a:accent6>
        <a:srgbClr val="DC7400"/>
      </a:accent6>
      <a:hlink>
        <a:srgbClr val="FD0014"/>
      </a:hlink>
      <a:folHlink>
        <a:srgbClr val="C20014"/>
      </a:folHlink>
    </a:clrScheme>
    <a:fontScheme name="HDS 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HDS 2011">
      <a:dk1>
        <a:sysClr val="windowText" lastClr="000000"/>
      </a:dk1>
      <a:lt1>
        <a:sysClr val="window" lastClr="FFFFFF"/>
      </a:lt1>
      <a:dk2>
        <a:srgbClr val="14AF9F"/>
      </a:dk2>
      <a:lt2>
        <a:srgbClr val="6D6E71"/>
      </a:lt2>
      <a:accent1>
        <a:srgbClr val="FD0014"/>
      </a:accent1>
      <a:accent2>
        <a:srgbClr val="C20014"/>
      </a:accent2>
      <a:accent3>
        <a:srgbClr val="009933"/>
      </a:accent3>
      <a:accent4>
        <a:srgbClr val="0073B2"/>
      </a:accent4>
      <a:accent5>
        <a:srgbClr val="DEB408"/>
      </a:accent5>
      <a:accent6>
        <a:srgbClr val="DC7400"/>
      </a:accent6>
      <a:hlink>
        <a:srgbClr val="FD0014"/>
      </a:hlink>
      <a:folHlink>
        <a:srgbClr val="C20014"/>
      </a:folHlink>
    </a:clrScheme>
    <a:fontScheme name="HDS 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V2019</Template>
  <TotalTime>8373</TotalTime>
  <Words>878</Words>
  <Application>Microsoft Macintosh PowerPoint</Application>
  <PresentationFormat>On-screen Show (16:9)</PresentationFormat>
  <Paragraphs>186</Paragraphs>
  <Slides>31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0" baseType="lpstr">
      <vt:lpstr>Arial</vt:lpstr>
      <vt:lpstr>Arial Black</vt:lpstr>
      <vt:lpstr>Calibri</vt:lpstr>
      <vt:lpstr>Helvetica</vt:lpstr>
      <vt:lpstr>HelveticaNeueLT Std</vt:lpstr>
      <vt:lpstr>SF Pro Display</vt:lpstr>
      <vt:lpstr>Wingdings</vt:lpstr>
      <vt:lpstr>HV2019</vt:lpstr>
      <vt:lpstr>think-cell Slide</vt:lpstr>
      <vt:lpstr>CoreData  &amp; MVVM</vt:lpstr>
      <vt:lpstr>Agenda</vt:lpstr>
      <vt:lpstr>NSUserDefault</vt:lpstr>
      <vt:lpstr>CoreData</vt:lpstr>
      <vt:lpstr>Network programing</vt:lpstr>
      <vt:lpstr>Rest API </vt:lpstr>
      <vt:lpstr>MVVM Architecture</vt:lpstr>
      <vt:lpstr>XCTest</vt:lpstr>
      <vt:lpstr>Thank You</vt:lpstr>
      <vt:lpstr>PowerPoint Presentation</vt:lpstr>
      <vt:lpstr>Recommended Graphic Styles</vt:lpstr>
      <vt:lpstr>PowerPoint Assets  (View in Slideshow Mode to Activate Links in this Presentation)</vt:lpstr>
      <vt:lpstr>Bullet Slide Example 24pt Arial Bold</vt:lpstr>
      <vt:lpstr>Confidential Slide Example 24pt Arial Bold Subtitle Example 18pt Arial Regular</vt:lpstr>
      <vt:lpstr>Photo and Text Slide Example</vt:lpstr>
      <vt:lpstr>Photo and Icon Slide Example</vt:lpstr>
      <vt:lpstr>Icons and Text Example</vt:lpstr>
      <vt:lpstr>Text and Quote or Callout Example</vt:lpstr>
      <vt:lpstr>Divider Slide Sample</vt:lpstr>
      <vt:lpstr>Divider Slide Sample</vt:lpstr>
      <vt:lpstr>Divider Slide Sample</vt:lpstr>
      <vt:lpstr>Agenda Example</vt:lpstr>
      <vt:lpstr>Matrix Example</vt:lpstr>
      <vt:lpstr>Map Example</vt:lpstr>
      <vt:lpstr>Diagram Slide Example</vt:lpstr>
      <vt:lpstr>Table Example</vt:lpstr>
      <vt:lpstr>Bar Chart Example</vt:lpstr>
      <vt:lpstr>Line Chart Example</vt:lpstr>
      <vt:lpstr>Pie Chart Example</vt:lpstr>
      <vt:lpstr>Thank You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itachi Vantara Presentation Template</dc:title>
  <dc:creator>Vicki Taniguchi</dc:creator>
  <cp:lastModifiedBy>Phan Trọng Nhân</cp:lastModifiedBy>
  <cp:revision>96</cp:revision>
  <dcterms:created xsi:type="dcterms:W3CDTF">2019-12-11T19:15:52Z</dcterms:created>
  <dcterms:modified xsi:type="dcterms:W3CDTF">2022-11-25T00:52:35Z</dcterms:modified>
</cp:coreProperties>
</file>